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charts/chart5.xml" ContentType="application/vnd.openxmlformats-officedocument.drawingml.chart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drawings/drawing4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69" r:id="rId5"/>
    <p:sldId id="277" r:id="rId6"/>
    <p:sldId id="271" r:id="rId7"/>
    <p:sldId id="275" r:id="rId8"/>
    <p:sldId id="279" r:id="rId9"/>
    <p:sldId id="274" r:id="rId10"/>
    <p:sldId id="276" r:id="rId11"/>
    <p:sldId id="268" r:id="rId12"/>
    <p:sldId id="270" r:id="rId13"/>
    <p:sldId id="278" r:id="rId14"/>
    <p:sldId id="286" r:id="rId15"/>
    <p:sldId id="287" r:id="rId16"/>
    <p:sldId id="280" r:id="rId17"/>
    <p:sldId id="282" r:id="rId18"/>
    <p:sldId id="283" r:id="rId19"/>
    <p:sldId id="281" r:id="rId20"/>
    <p:sldId id="284" r:id="rId21"/>
    <p:sldId id="272" r:id="rId22"/>
    <p:sldId id="285" r:id="rId23"/>
  </p:sldIdLst>
  <p:sldSz cx="10693400" cy="7561263"/>
  <p:notesSz cx="7023100" cy="9309100"/>
  <p:custDataLst>
    <p:tags r:id="rId26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9"/>
            <p14:sldId id="277"/>
            <p14:sldId id="271"/>
            <p14:sldId id="275"/>
            <p14:sldId id="279"/>
            <p14:sldId id="274"/>
            <p14:sldId id="276"/>
            <p14:sldId id="268"/>
            <p14:sldId id="270"/>
            <p14:sldId id="278"/>
            <p14:sldId id="286"/>
            <p14:sldId id="287"/>
            <p14:sldId id="280"/>
            <p14:sldId id="282"/>
            <p14:sldId id="283"/>
            <p14:sldId id="281"/>
            <p14:sldId id="284"/>
            <p14:sldId id="272"/>
            <p14:sldId id="285"/>
          </p14:sldIdLst>
        </p14:section>
      </p14:sectionLst>
    </p:ext>
    <p:ext uri="{EFAFB233-063F-42B5-8137-9DF3F51BA10A}">
      <p15:sldGuideLst xmlns:p15="http://schemas.microsoft.com/office/powerpoint/2012/main" xmlns="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FF9600"/>
    <a:srgbClr val="ADC2FF"/>
    <a:srgbClr val="009600"/>
    <a:srgbClr val="FF1414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 showGuides="1">
      <p:cViewPr>
        <p:scale>
          <a:sx n="113" d="100"/>
          <a:sy n="113" d="100"/>
        </p:scale>
        <p:origin x="-930" y="-48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orient="horz" pos="2932"/>
        <p:guide pos="2160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http://www.cnb.cz/cs/menova_politika/zpravy_o_inflaci/2013/2013_IV/download/ZOI_IV_2013_III_3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Temp\notesFFF692\intervence_efekt_HDP_CPI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Temp\notesFFF692\intervence_efekt_HDP_CPI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data\groups\ho_ecm\Research\Research\Odhady\Alco\LT_10Y_JPN_GE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rb.cz\data\groups\ho_ecm\Research\Research\Prezentace\japonsko_eur_srovnani.xls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\\rb.cz\data\groups\ho_ecm\Research\Research\Prezentace\japonsko_eur_srovnani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data\groups\ho_ecm\Research\Research\Odhady\TMM\loans_EMU_JP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data\groups\ho_ecm\Research\Research\Prezentace\loans_EMU_JP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data\groups\ho_ecm\Research\Research\Prezentace\japonsko_eur_srovnani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393517067637718E-2"/>
          <c:y val="5.8064676180039257E-2"/>
          <c:w val="0.8405814096900267"/>
          <c:h val="0.690324483473800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af III.3.1'!$O$2</c:f>
              <c:strCache>
                <c:ptCount val="1"/>
                <c:pt idx="0">
                  <c:v>Mezera výstupu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 w="12700">
              <a:solidFill>
                <a:schemeClr val="bg1">
                  <a:lumMod val="50000"/>
                </a:schemeClr>
              </a:solidFill>
              <a:prstDash val="solid"/>
            </a:ln>
          </c:spPr>
          <c:invertIfNegative val="0"/>
          <c:cat>
            <c:strRef>
              <c:f>'Graf III.3.1'!$A$3:$A$20</c:f>
              <c:strCache>
                <c:ptCount val="18"/>
                <c:pt idx="0">
                  <c:v> I/09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 I/10</c:v>
                </c:pt>
                <c:pt idx="5">
                  <c:v>II</c:v>
                </c:pt>
                <c:pt idx="6">
                  <c:v>III</c:v>
                </c:pt>
                <c:pt idx="7">
                  <c:v>IV</c:v>
                </c:pt>
                <c:pt idx="8">
                  <c:v>I/11</c:v>
                </c:pt>
                <c:pt idx="9">
                  <c:v>II</c:v>
                </c:pt>
                <c:pt idx="10">
                  <c:v>III</c:v>
                </c:pt>
                <c:pt idx="11">
                  <c:v>IV</c:v>
                </c:pt>
                <c:pt idx="12">
                  <c:v>I/12</c:v>
                </c:pt>
                <c:pt idx="13">
                  <c:v>II</c:v>
                </c:pt>
                <c:pt idx="14">
                  <c:v>III</c:v>
                </c:pt>
                <c:pt idx="15">
                  <c:v>IV</c:v>
                </c:pt>
                <c:pt idx="16">
                  <c:v>I/13</c:v>
                </c:pt>
                <c:pt idx="17">
                  <c:v>II</c:v>
                </c:pt>
              </c:strCache>
            </c:strRef>
          </c:cat>
          <c:val>
            <c:numRef>
              <c:f>'Graf III.3.1'!$O$3:$O$20</c:f>
              <c:numCache>
                <c:formatCode>General</c:formatCode>
                <c:ptCount val="18"/>
                <c:pt idx="0">
                  <c:v>-0.87643545019502245</c:v>
                </c:pt>
                <c:pt idx="1">
                  <c:v>-1.7011874920368095</c:v>
                </c:pt>
                <c:pt idx="2">
                  <c:v>-1.5027904916149748</c:v>
                </c:pt>
                <c:pt idx="3">
                  <c:v>-1.1980518676473668</c:v>
                </c:pt>
                <c:pt idx="4">
                  <c:v>-0.70670789345104523</c:v>
                </c:pt>
                <c:pt idx="5">
                  <c:v>8.3415380354105229E-2</c:v>
                </c:pt>
                <c:pt idx="6">
                  <c:v>0.37391374138355243</c:v>
                </c:pt>
                <c:pt idx="7">
                  <c:v>0.70466858911098562</c:v>
                </c:pt>
                <c:pt idx="8">
                  <c:v>1.1630937942198776</c:v>
                </c:pt>
                <c:pt idx="9">
                  <c:v>1.1202718945738199</c:v>
                </c:pt>
                <c:pt idx="10">
                  <c:v>0.90716871847819824</c:v>
                </c:pt>
                <c:pt idx="11">
                  <c:v>0.51676114165010978</c:v>
                </c:pt>
                <c:pt idx="12">
                  <c:v>-0.10818608845620754</c:v>
                </c:pt>
                <c:pt idx="13">
                  <c:v>-0.79339491061419842</c:v>
                </c:pt>
                <c:pt idx="14">
                  <c:v>-1.4164733356719579</c:v>
                </c:pt>
                <c:pt idx="15">
                  <c:v>-2.0018569459101374</c:v>
                </c:pt>
                <c:pt idx="16">
                  <c:v>-3.6422935310172906</c:v>
                </c:pt>
                <c:pt idx="17">
                  <c:v>-3.38396124778380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3417984"/>
        <c:axId val="43419520"/>
      </c:barChart>
      <c:lineChart>
        <c:grouping val="standard"/>
        <c:varyColors val="0"/>
        <c:ser>
          <c:idx val="1"/>
          <c:order val="1"/>
          <c:tx>
            <c:strRef>
              <c:f>'Graf III.3.1'!$C$2</c:f>
              <c:strCache>
                <c:ptCount val="1"/>
                <c:pt idx="0">
                  <c:v>Meziroční růst HDP (levá osa)</c:v>
                </c:pt>
              </c:strCache>
            </c:strRef>
          </c:tx>
          <c:spPr>
            <a:ln w="25400">
              <a:solidFill>
                <a:schemeClr val="tx1"/>
              </a:solidFill>
              <a:prstDash val="solid"/>
            </a:ln>
          </c:spPr>
          <c:marker>
            <c:symbol val="none"/>
          </c:marker>
          <c:cat>
            <c:strRef>
              <c:f>'Graf III.3.1'!Col_A</c:f>
              <c:strCache>
                <c:ptCount val="18"/>
                <c:pt idx="0">
                  <c:v> I/09</c:v>
                </c:pt>
                <c:pt idx="1">
                  <c:v>II</c:v>
                </c:pt>
                <c:pt idx="2">
                  <c:v>III</c:v>
                </c:pt>
                <c:pt idx="3">
                  <c:v>IV</c:v>
                </c:pt>
                <c:pt idx="4">
                  <c:v> I/10</c:v>
                </c:pt>
                <c:pt idx="5">
                  <c:v>II</c:v>
                </c:pt>
                <c:pt idx="6">
                  <c:v>III</c:v>
                </c:pt>
                <c:pt idx="7">
                  <c:v>IV</c:v>
                </c:pt>
                <c:pt idx="8">
                  <c:v>I/11</c:v>
                </c:pt>
                <c:pt idx="9">
                  <c:v>II</c:v>
                </c:pt>
                <c:pt idx="10">
                  <c:v>III</c:v>
                </c:pt>
                <c:pt idx="11">
                  <c:v>IV</c:v>
                </c:pt>
                <c:pt idx="12">
                  <c:v>I/12</c:v>
                </c:pt>
                <c:pt idx="13">
                  <c:v>II</c:v>
                </c:pt>
                <c:pt idx="14">
                  <c:v>III</c:v>
                </c:pt>
                <c:pt idx="15">
                  <c:v>IV</c:v>
                </c:pt>
                <c:pt idx="16">
                  <c:v>I/13</c:v>
                </c:pt>
                <c:pt idx="17">
                  <c:v>II</c:v>
                </c:pt>
              </c:strCache>
            </c:strRef>
          </c:cat>
          <c:val>
            <c:numRef>
              <c:f>'Graf III.3.1'!Col_C</c:f>
              <c:numCache>
                <c:formatCode>General</c:formatCode>
                <c:ptCount val="18"/>
                <c:pt idx="0">
                  <c:v>-3.7481574835239506</c:v>
                </c:pt>
                <c:pt idx="1">
                  <c:v>-5.469923352158923</c:v>
                </c:pt>
                <c:pt idx="2">
                  <c:v>-5.2165287667222398</c:v>
                </c:pt>
                <c:pt idx="3">
                  <c:v>-2.9616503958575624</c:v>
                </c:pt>
                <c:pt idx="4">
                  <c:v>0.93748705605132265</c:v>
                </c:pt>
                <c:pt idx="5">
                  <c:v>2.6376571439151286</c:v>
                </c:pt>
                <c:pt idx="6">
                  <c:v>2.8418271968060793</c:v>
                </c:pt>
                <c:pt idx="7">
                  <c:v>2.8149071396822656</c:v>
                </c:pt>
                <c:pt idx="8">
                  <c:v>2.9851358745212497</c:v>
                </c:pt>
                <c:pt idx="9">
                  <c:v>2.0841742110781603</c:v>
                </c:pt>
                <c:pt idx="10">
                  <c:v>1.5130510600098734</c:v>
                </c:pt>
                <c:pt idx="11">
                  <c:v>0.75420948951303579</c:v>
                </c:pt>
                <c:pt idx="12">
                  <c:v>-0.27339097787635325</c:v>
                </c:pt>
                <c:pt idx="13">
                  <c:v>-0.87094237599617541</c:v>
                </c:pt>
                <c:pt idx="14">
                  <c:v>-1.2217874948664442</c:v>
                </c:pt>
                <c:pt idx="15">
                  <c:v>-1.388641603954599</c:v>
                </c:pt>
                <c:pt idx="16">
                  <c:v>-2.3425135238923978</c:v>
                </c:pt>
                <c:pt idx="17">
                  <c:v>-1.33761155118822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4414080"/>
        <c:axId val="88172800"/>
      </c:lineChart>
      <c:catAx>
        <c:axId val="444140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88172800"/>
        <c:crosses val="autoZero"/>
        <c:auto val="1"/>
        <c:lblAlgn val="ctr"/>
        <c:lblOffset val="100"/>
        <c:tickLblSkip val="4"/>
        <c:tickMarkSkip val="1"/>
        <c:noMultiLvlLbl val="0"/>
      </c:catAx>
      <c:valAx>
        <c:axId val="88172800"/>
        <c:scaling>
          <c:orientation val="minMax"/>
          <c:max val="4"/>
          <c:min val="-8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4414080"/>
        <c:crosses val="autoZero"/>
        <c:crossBetween val="between"/>
      </c:valAx>
      <c:catAx>
        <c:axId val="434179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3419520"/>
        <c:crosses val="autoZero"/>
        <c:auto val="1"/>
        <c:lblAlgn val="ctr"/>
        <c:lblOffset val="100"/>
        <c:noMultiLvlLbl val="0"/>
      </c:catAx>
      <c:valAx>
        <c:axId val="43419520"/>
        <c:scaling>
          <c:orientation val="minMax"/>
          <c:max val="2"/>
          <c:min val="-4"/>
        </c:scaling>
        <c:delete val="0"/>
        <c:axPos val="r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43417984"/>
        <c:crosses val="max"/>
        <c:crossBetween val="between"/>
        <c:majorUnit val="1"/>
        <c:minorUnit val="0.1"/>
      </c:valAx>
      <c:spPr>
        <a:solidFill>
          <a:srgbClr val="FFFFFF"/>
        </a:solidFill>
        <a:ln w="25400">
          <a:noFill/>
        </a:ln>
      </c:spPr>
    </c:plotArea>
    <c:legend>
      <c:legendPos val="b"/>
      <c:layout>
        <c:manualLayout>
          <c:xMode val="edge"/>
          <c:yMode val="edge"/>
          <c:x val="2.1042485178414515E-2"/>
          <c:y val="0.85957291912792166"/>
          <c:w val="0.9516685646039329"/>
          <c:h val="0.12842704488233703"/>
        </c:manualLayout>
      </c:layout>
      <c:overlay val="0"/>
      <c:spPr>
        <a:solidFill>
          <a:srgbClr val="FFFFFF"/>
        </a:solidFill>
        <a:ln w="25400">
          <a:noFill/>
        </a:ln>
      </c:spPr>
    </c:legend>
    <c:plotVisOnly val="1"/>
    <c:dispBlanksAs val="gap"/>
    <c:showDLblsOverMax val="0"/>
  </c:chart>
  <c:spPr>
    <a:solidFill>
      <a:srgbClr val="FFFFFF"/>
    </a:solidFill>
    <a:ln w="9525">
      <a:noFill/>
    </a:ln>
  </c:spPr>
  <c:txPr>
    <a:bodyPr/>
    <a:lstStyle/>
    <a:p>
      <a:pPr>
        <a:defRPr sz="16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084582637688565"/>
          <c:y val="4.4981597970644722E-2"/>
          <c:w val="0.89406716142370102"/>
          <c:h val="0.8162597692048270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álný HDP po intervenci (r/r)</c:v>
                </c:pt>
              </c:strCache>
            </c:strRef>
          </c:tx>
          <c:spPr>
            <a:ln w="47625">
              <a:solidFill>
                <a:schemeClr val="accent6">
                  <a:lumMod val="50000"/>
                </a:schemeClr>
              </a:solidFill>
            </a:ln>
          </c:spPr>
          <c:marker>
            <c:symbol val="none"/>
          </c:marker>
          <c:cat>
            <c:strRef>
              <c:f>Sheet1!$C$1:$L$1</c:f>
              <c:strCache>
                <c:ptCount val="10"/>
                <c:pt idx="0">
                  <c:v>Q1 '13</c:v>
                </c:pt>
                <c:pt idx="1">
                  <c:v>Q2 '13</c:v>
                </c:pt>
                <c:pt idx="2">
                  <c:v>Q3 '13</c:v>
                </c:pt>
                <c:pt idx="3">
                  <c:v>Q4 '13</c:v>
                </c:pt>
                <c:pt idx="4">
                  <c:v>Q1 '14</c:v>
                </c:pt>
                <c:pt idx="5">
                  <c:v>Q2 '14</c:v>
                </c:pt>
                <c:pt idx="6">
                  <c:v>Q3 '14</c:v>
                </c:pt>
                <c:pt idx="7">
                  <c:v>Q4 '14</c:v>
                </c:pt>
                <c:pt idx="8">
                  <c:v>Q1 '15</c:v>
                </c:pt>
                <c:pt idx="9">
                  <c:v>Q2 '15</c:v>
                </c:pt>
              </c:strCache>
            </c:strRef>
          </c:cat>
          <c:val>
            <c:numRef>
              <c:f>Sheet1!$C$2:$L$2</c:f>
              <c:numCache>
                <c:formatCode>0.00</c:formatCode>
                <c:ptCount val="10"/>
                <c:pt idx="0">
                  <c:v>-2.1668532645355065</c:v>
                </c:pt>
                <c:pt idx="1">
                  <c:v>-1.3063470669046451</c:v>
                </c:pt>
                <c:pt idx="2">
                  <c:v>-0.45910146854317713</c:v>
                </c:pt>
                <c:pt idx="3">
                  <c:v>1.1207467078191424</c:v>
                </c:pt>
                <c:pt idx="4">
                  <c:v>2.5955286761189189</c:v>
                </c:pt>
                <c:pt idx="5">
                  <c:v>2.479471676827627</c:v>
                </c:pt>
                <c:pt idx="6">
                  <c:v>2.9287923900387147</c:v>
                </c:pt>
                <c:pt idx="7">
                  <c:v>2.3044690468861484</c:v>
                </c:pt>
                <c:pt idx="8">
                  <c:v>2.1532237407286381</c:v>
                </c:pt>
                <c:pt idx="9">
                  <c:v>2.42138311999999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eálný HDP před intervencí (r/r)</c:v>
                </c:pt>
              </c:strCache>
            </c:strRef>
          </c:tx>
          <c:spPr>
            <a:ln w="28575">
              <a:solidFill>
                <a:srgbClr val="FF0000"/>
              </a:solidFill>
              <a:prstDash val="dash"/>
            </a:ln>
          </c:spPr>
          <c:marker>
            <c:symbol val="none"/>
          </c:marker>
          <c:cat>
            <c:strRef>
              <c:f>Sheet1!$C$1:$L$1</c:f>
              <c:strCache>
                <c:ptCount val="10"/>
                <c:pt idx="0">
                  <c:v>Q1 '13</c:v>
                </c:pt>
                <c:pt idx="1">
                  <c:v>Q2 '13</c:v>
                </c:pt>
                <c:pt idx="2">
                  <c:v>Q3 '13</c:v>
                </c:pt>
                <c:pt idx="3">
                  <c:v>Q4 '13</c:v>
                </c:pt>
                <c:pt idx="4">
                  <c:v>Q1 '14</c:v>
                </c:pt>
                <c:pt idx="5">
                  <c:v>Q2 '14</c:v>
                </c:pt>
                <c:pt idx="6">
                  <c:v>Q3 '14</c:v>
                </c:pt>
                <c:pt idx="7">
                  <c:v>Q4 '14</c:v>
                </c:pt>
                <c:pt idx="8">
                  <c:v>Q1 '15</c:v>
                </c:pt>
                <c:pt idx="9">
                  <c:v>Q2 '15</c:v>
                </c:pt>
              </c:strCache>
            </c:strRef>
          </c:cat>
          <c:val>
            <c:numRef>
              <c:f>Sheet1!$C$10:$L$10</c:f>
              <c:numCache>
                <c:formatCode>General</c:formatCode>
                <c:ptCount val="10"/>
                <c:pt idx="2" formatCode="0.00">
                  <c:v>-0.45910146854317713</c:v>
                </c:pt>
                <c:pt idx="3">
                  <c:v>0.6</c:v>
                </c:pt>
                <c:pt idx="4">
                  <c:v>1.8</c:v>
                </c:pt>
                <c:pt idx="5">
                  <c:v>2.2000000000000002</c:v>
                </c:pt>
                <c:pt idx="6">
                  <c:v>2.6</c:v>
                </c:pt>
                <c:pt idx="7">
                  <c:v>2.1</c:v>
                </c:pt>
                <c:pt idx="8">
                  <c:v>2</c:v>
                </c:pt>
                <c:pt idx="9">
                  <c:v>2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141312"/>
        <c:axId val="102143104"/>
      </c:lineChart>
      <c:catAx>
        <c:axId val="102141312"/>
        <c:scaling>
          <c:orientation val="minMax"/>
        </c:scaling>
        <c:delete val="0"/>
        <c:axPos val="b"/>
        <c:majorTickMark val="none"/>
        <c:minorTickMark val="none"/>
        <c:tickLblPos val="low"/>
        <c:crossAx val="102143104"/>
        <c:crosses val="autoZero"/>
        <c:auto val="1"/>
        <c:lblAlgn val="ctr"/>
        <c:lblOffset val="100"/>
        <c:noMultiLvlLbl val="0"/>
      </c:catAx>
      <c:valAx>
        <c:axId val="102143104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/>
                  <a:t>meziroční změna v %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2.0382516128640935E-2"/>
              <c:y val="0.19382612127986723"/>
            </c:manualLayout>
          </c:layout>
          <c:overlay val="0"/>
        </c:title>
        <c:numFmt formatCode="0" sourceLinked="0"/>
        <c:majorTickMark val="none"/>
        <c:minorTickMark val="none"/>
        <c:tickLblPos val="nextTo"/>
        <c:crossAx val="1021413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0218212147536921"/>
          <c:y val="0.62410299271250314"/>
          <c:w val="0.60977850051389759"/>
          <c:h val="0.19862813237730759"/>
        </c:manualLayout>
      </c:layout>
      <c:overlay val="0"/>
      <c:txPr>
        <a:bodyPr/>
        <a:lstStyle/>
        <a:p>
          <a:pPr>
            <a:defRPr sz="1600"/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959237889902292E-2"/>
          <c:y val="5.7554069154967344E-2"/>
          <c:w val="0.92340215571856699"/>
          <c:h val="0.80117806702733585"/>
        </c:manualLayout>
      </c:layout>
      <c:lineChart>
        <c:grouping val="standard"/>
        <c:varyColors val="0"/>
        <c:ser>
          <c:idx val="9"/>
          <c:order val="0"/>
          <c:tx>
            <c:strRef>
              <c:f>'CPI_používání kurzu'!$D$2</c:f>
              <c:strCache>
                <c:ptCount val="1"/>
                <c:pt idx="0">
                  <c:v>Inflační cíl</c:v>
                </c:pt>
              </c:strCache>
            </c:strRef>
          </c:tx>
          <c:spPr>
            <a:ln w="25400">
              <a:solidFill>
                <a:srgbClr val="FF0000"/>
              </a:solidFill>
              <a:prstDash val="solid"/>
            </a:ln>
          </c:spPr>
          <c:marker>
            <c:symbol val="none"/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D$3:$D$17</c:f>
              <c:numCache>
                <c:formatCode>0</c:formatCode>
                <c:ptCount val="15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</c:numCache>
            </c:numRef>
          </c:val>
          <c:smooth val="0"/>
        </c:ser>
        <c:ser>
          <c:idx val="15"/>
          <c:order val="1"/>
          <c:tx>
            <c:strRef>
              <c:f>'CPI_používání kurzu'!$D$2</c:f>
              <c:strCache>
                <c:ptCount val="1"/>
                <c:pt idx="0">
                  <c:v>Inflační cíl</c:v>
                </c:pt>
              </c:strCache>
            </c:strRef>
          </c:tx>
          <c:spPr>
            <a:ln w="22225">
              <a:solidFill>
                <a:srgbClr val="FF0000"/>
              </a:solidFill>
            </a:ln>
          </c:spPr>
          <c:marker>
            <c:symbol val="dash"/>
            <c:size val="6"/>
            <c:spPr>
              <a:noFill/>
              <a:ln>
                <a:noFill/>
                <a:prstDash val="solid"/>
              </a:ln>
            </c:spPr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D$3:$D$17</c:f>
              <c:numCache>
                <c:formatCode>0</c:formatCode>
                <c:ptCount val="15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2</c:v>
                </c:pt>
                <c:pt idx="10">
                  <c:v>2</c:v>
                </c:pt>
                <c:pt idx="11">
                  <c:v>2</c:v>
                </c:pt>
                <c:pt idx="12">
                  <c:v>2</c:v>
                </c:pt>
                <c:pt idx="13">
                  <c:v>2</c:v>
                </c:pt>
                <c:pt idx="14">
                  <c:v>2</c:v>
                </c:pt>
              </c:numCache>
            </c:numRef>
          </c:val>
          <c:smooth val="0"/>
        </c:ser>
        <c:ser>
          <c:idx val="16"/>
          <c:order val="2"/>
          <c:tx>
            <c:strRef>
              <c:f>'CPI_používání kurzu'!$E$2</c:f>
              <c:strCache>
                <c:ptCount val="1"/>
                <c:pt idx="0">
                  <c:v>Inflační cíl - dolní mez</c:v>
                </c:pt>
              </c:strCache>
            </c:strRef>
          </c:tx>
          <c:spPr>
            <a:ln w="19050">
              <a:solidFill>
                <a:srgbClr val="FF0000"/>
              </a:solidFill>
              <a:prstDash val="dash"/>
            </a:ln>
          </c:spPr>
          <c:marker>
            <c:symbol val="dash"/>
            <c:size val="2"/>
            <c:spPr>
              <a:noFill/>
              <a:ln>
                <a:noFill/>
                <a:prstDash val="solid"/>
              </a:ln>
            </c:spPr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E$3:$E$17</c:f>
              <c:numCache>
                <c:formatCode>0</c:formatCode>
                <c:ptCount val="1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</c:numCache>
            </c:numRef>
          </c:val>
          <c:smooth val="0"/>
        </c:ser>
        <c:ser>
          <c:idx val="17"/>
          <c:order val="3"/>
          <c:tx>
            <c:strRef>
              <c:f>'CPI_používání kurzu'!$F$2</c:f>
              <c:strCache>
                <c:ptCount val="1"/>
                <c:pt idx="0">
                  <c:v>Inflační cíl - horní mez</c:v>
                </c:pt>
              </c:strCache>
            </c:strRef>
          </c:tx>
          <c:spPr>
            <a:ln w="19050">
              <a:solidFill>
                <a:srgbClr val="FF0000"/>
              </a:solidFill>
              <a:prstDash val="dash"/>
            </a:ln>
          </c:spPr>
          <c:marker>
            <c:symbol val="dash"/>
            <c:size val="2"/>
            <c:spPr>
              <a:noFill/>
              <a:ln>
                <a:noFill/>
                <a:prstDash val="solid"/>
              </a:ln>
            </c:spPr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F$3:$F$17</c:f>
              <c:numCache>
                <c:formatCode>0</c:formatCode>
                <c:ptCount val="15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  <c:pt idx="8">
                  <c:v>3</c:v>
                </c:pt>
                <c:pt idx="9">
                  <c:v>3</c:v>
                </c:pt>
                <c:pt idx="10">
                  <c:v>3</c:v>
                </c:pt>
                <c:pt idx="11">
                  <c:v>3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</c:numCache>
            </c:numRef>
          </c:val>
          <c:smooth val="0"/>
        </c:ser>
        <c:ser>
          <c:idx val="12"/>
          <c:order val="5"/>
          <c:tx>
            <c:strRef>
              <c:f>'CPI_používání kurzu'!$B$2</c:f>
              <c:strCache>
                <c:ptCount val="1"/>
                <c:pt idx="0">
                  <c:v>CPI po intervenci (prognóza RB)</c:v>
                </c:pt>
              </c:strCache>
            </c:strRef>
          </c:tx>
          <c:spPr>
            <a:ln w="34925">
              <a:solidFill>
                <a:srgbClr val="000000"/>
              </a:solidFill>
              <a:prstDash val="solid"/>
            </a:ln>
          </c:spPr>
          <c:marker>
            <c:symbol val="none"/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B$3:$B$17</c:f>
              <c:numCache>
                <c:formatCode>General</c:formatCode>
                <c:ptCount val="15"/>
                <c:pt idx="0">
                  <c:v>2.4</c:v>
                </c:pt>
                <c:pt idx="1">
                  <c:v>3.7</c:v>
                </c:pt>
                <c:pt idx="2">
                  <c:v>3.4</c:v>
                </c:pt>
                <c:pt idx="3">
                  <c:v>3.3</c:v>
                </c:pt>
                <c:pt idx="4">
                  <c:v>2.8</c:v>
                </c:pt>
                <c:pt idx="5">
                  <c:v>1.8</c:v>
                </c:pt>
                <c:pt idx="6">
                  <c:v>1.5</c:v>
                </c:pt>
                <c:pt idx="7">
                  <c:v>1.2</c:v>
                </c:pt>
                <c:pt idx="8">
                  <c:v>1.1000000000000001</c:v>
                </c:pt>
                <c:pt idx="9">
                  <c:v>0.2</c:v>
                </c:pt>
                <c:pt idx="10">
                  <c:v>0.2</c:v>
                </c:pt>
                <c:pt idx="11">
                  <c:v>0.6</c:v>
                </c:pt>
                <c:pt idx="12">
                  <c:v>0.9</c:v>
                </c:pt>
                <c:pt idx="13">
                  <c:v>1.3</c:v>
                </c:pt>
                <c:pt idx="14">
                  <c:v>1.8</c:v>
                </c:pt>
              </c:numCache>
            </c:numRef>
          </c:val>
          <c:smooth val="0"/>
        </c:ser>
        <c:ser>
          <c:idx val="8"/>
          <c:order val="6"/>
          <c:tx>
            <c:strRef>
              <c:f>'CPI_používání kurzu'!$G$2</c:f>
              <c:strCache>
                <c:ptCount val="1"/>
                <c:pt idx="0">
                  <c:v>ČNB prognóza CPI po intervenci</c:v>
                </c:pt>
              </c:strCache>
            </c:strRef>
          </c:tx>
          <c:spPr>
            <a:ln w="25400">
              <a:solidFill>
                <a:schemeClr val="tx1"/>
              </a:solidFill>
              <a:prstDash val="dash"/>
            </a:ln>
          </c:spPr>
          <c:marker>
            <c:symbol val="none"/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G$3:$G$17</c:f>
              <c:numCache>
                <c:formatCode>General</c:formatCode>
                <c:ptCount val="15"/>
                <c:pt idx="7">
                  <c:v>1.2</c:v>
                </c:pt>
                <c:pt idx="8">
                  <c:v>1.1874201275537501</c:v>
                </c:pt>
                <c:pt idx="9">
                  <c:v>0.29597734346707227</c:v>
                </c:pt>
                <c:pt idx="10">
                  <c:v>0.79230699147096573</c:v>
                </c:pt>
                <c:pt idx="11">
                  <c:v>1.708529946141681</c:v>
                </c:pt>
                <c:pt idx="12">
                  <c:v>2.237177483068109</c:v>
                </c:pt>
                <c:pt idx="13">
                  <c:v>3.0334238322279106</c:v>
                </c:pt>
                <c:pt idx="14">
                  <c:v>2.9474143318014825</c:v>
                </c:pt>
              </c:numCache>
            </c:numRef>
          </c:val>
          <c:smooth val="0"/>
        </c:ser>
        <c:ser>
          <c:idx val="0"/>
          <c:order val="7"/>
          <c:tx>
            <c:strRef>
              <c:f>'CPI_používání kurzu'!$C$2</c:f>
              <c:strCache>
                <c:ptCount val="1"/>
                <c:pt idx="0">
                  <c:v>RB prognóza CPI bez intervence</c:v>
                </c:pt>
              </c:strCache>
            </c:strRef>
          </c:tx>
          <c:spPr>
            <a:ln w="47625">
              <a:solidFill>
                <a:srgbClr val="C00000"/>
              </a:solidFill>
            </a:ln>
          </c:spPr>
          <c:marker>
            <c:symbol val="none"/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C$3:$C$17</c:f>
              <c:numCache>
                <c:formatCode>General</c:formatCode>
                <c:ptCount val="15"/>
                <c:pt idx="0">
                  <c:v>2.4</c:v>
                </c:pt>
                <c:pt idx="1">
                  <c:v>3.7</c:v>
                </c:pt>
                <c:pt idx="2">
                  <c:v>3.4</c:v>
                </c:pt>
                <c:pt idx="3">
                  <c:v>3.3</c:v>
                </c:pt>
                <c:pt idx="4">
                  <c:v>2.8</c:v>
                </c:pt>
                <c:pt idx="5">
                  <c:v>1.8</c:v>
                </c:pt>
                <c:pt idx="6">
                  <c:v>1.5</c:v>
                </c:pt>
                <c:pt idx="7">
                  <c:v>1.2</c:v>
                </c:pt>
                <c:pt idx="8">
                  <c:v>1</c:v>
                </c:pt>
                <c:pt idx="9">
                  <c:v>-0.3</c:v>
                </c:pt>
                <c:pt idx="10">
                  <c:v>-0.4</c:v>
                </c:pt>
                <c:pt idx="11">
                  <c:v>-0.3</c:v>
                </c:pt>
                <c:pt idx="12">
                  <c:v>0</c:v>
                </c:pt>
                <c:pt idx="13">
                  <c:v>0.8</c:v>
                </c:pt>
                <c:pt idx="14">
                  <c:v>1.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301696"/>
        <c:axId val="102303232"/>
      </c:lineChart>
      <c:lineChart>
        <c:grouping val="standard"/>
        <c:varyColors val="0"/>
        <c:ser>
          <c:idx val="18"/>
          <c:order val="4"/>
          <c:tx>
            <c:strRef>
              <c:f>'CPI_používání kurzu'!$J$2</c:f>
              <c:strCache>
                <c:ptCount val="1"/>
                <c:pt idx="0">
                  <c:v>Osa</c:v>
                </c:pt>
              </c:strCache>
            </c:strRef>
          </c:tx>
          <c:spPr>
            <a:ln w="12700">
              <a:solidFill>
                <a:srgbClr val="000000"/>
              </a:solidFill>
              <a:prstDash val="solid"/>
            </a:ln>
          </c:spPr>
          <c:marker>
            <c:symbol val="none"/>
          </c:marker>
          <c:cat>
            <c:strRef>
              <c:f>'CPI_používání kurzu'!$A$3:$A$17</c:f>
              <c:strCache>
                <c:ptCount val="15"/>
                <c:pt idx="0">
                  <c:v>IV/11</c:v>
                </c:pt>
                <c:pt idx="1">
                  <c:v>I/12</c:v>
                </c:pt>
                <c:pt idx="2">
                  <c:v>II</c:v>
                </c:pt>
                <c:pt idx="3">
                  <c:v>III</c:v>
                </c:pt>
                <c:pt idx="4">
                  <c:v>IV</c:v>
                </c:pt>
                <c:pt idx="5">
                  <c:v>I/13</c:v>
                </c:pt>
                <c:pt idx="6">
                  <c:v>II</c:v>
                </c:pt>
                <c:pt idx="7">
                  <c:v>III</c:v>
                </c:pt>
                <c:pt idx="8">
                  <c:v>IV</c:v>
                </c:pt>
                <c:pt idx="9">
                  <c:v>I/14</c:v>
                </c:pt>
                <c:pt idx="10">
                  <c:v>II</c:v>
                </c:pt>
                <c:pt idx="11">
                  <c:v>III</c:v>
                </c:pt>
                <c:pt idx="12">
                  <c:v>IV</c:v>
                </c:pt>
                <c:pt idx="13">
                  <c:v>I/15</c:v>
                </c:pt>
                <c:pt idx="14">
                  <c:v>II</c:v>
                </c:pt>
              </c:strCache>
            </c:strRef>
          </c:cat>
          <c:val>
            <c:numRef>
              <c:f>'CPI_používání kurzu'!$J$4:$J$49</c:f>
              <c:numCache>
                <c:formatCode>0</c:formatCode>
                <c:ptCount val="4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304768"/>
        <c:axId val="102310656"/>
      </c:lineChart>
      <c:catAx>
        <c:axId val="102301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02303232"/>
        <c:crossesAt val="-4"/>
        <c:auto val="1"/>
        <c:lblAlgn val="ctr"/>
        <c:lblOffset val="100"/>
        <c:tickLblSkip val="1"/>
        <c:tickMarkSkip val="1"/>
        <c:noMultiLvlLbl val="0"/>
      </c:catAx>
      <c:valAx>
        <c:axId val="102303232"/>
        <c:scaling>
          <c:orientation val="minMax"/>
          <c:max val="6"/>
          <c:min val="-2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02301696"/>
        <c:crosses val="autoZero"/>
        <c:crossBetween val="between"/>
        <c:majorUnit val="1"/>
      </c:valAx>
      <c:catAx>
        <c:axId val="10230476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 w="9525">
            <a:noFill/>
          </a:ln>
        </c:spPr>
        <c:crossAx val="102310656"/>
        <c:crosses val="max"/>
        <c:auto val="0"/>
        <c:lblAlgn val="ctr"/>
        <c:lblOffset val="100"/>
        <c:tickMarkSkip val="1"/>
        <c:noMultiLvlLbl val="0"/>
      </c:catAx>
      <c:valAx>
        <c:axId val="10231065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102304768"/>
        <c:crosses val="autoZero"/>
        <c:crossBetween val="midCat"/>
      </c:valAx>
      <c:spPr>
        <a:noFill/>
        <a:ln w="25400">
          <a:noFill/>
        </a:ln>
      </c:spPr>
    </c:plotArea>
    <c:legend>
      <c:legendPos val="b"/>
      <c:legendEntry>
        <c:idx val="0"/>
        <c:delete val="1"/>
      </c:legendEntry>
      <c:legendEntry>
        <c:idx val="1"/>
        <c:delete val="1"/>
      </c:legendEntry>
      <c:legendEntry>
        <c:idx val="2"/>
        <c:delete val="1"/>
      </c:legendEntry>
      <c:legendEntry>
        <c:idx val="3"/>
        <c:delete val="1"/>
      </c:legendEntry>
      <c:legendEntry>
        <c:idx val="7"/>
        <c:delete val="1"/>
      </c:legendEntry>
      <c:layout>
        <c:manualLayout>
          <c:xMode val="edge"/>
          <c:yMode val="edge"/>
          <c:x val="0.10935454964453016"/>
          <c:y val="6.8894245362186871E-2"/>
          <c:w val="0.8419403819192961"/>
          <c:h val="0.15052689842341138"/>
        </c:manualLayout>
      </c:layout>
      <c:overlay val="0"/>
    </c:legend>
    <c:plotVisOnly val="1"/>
    <c:dispBlanksAs val="gap"/>
    <c:showDLblsOverMax val="0"/>
  </c:chart>
  <c:spPr>
    <a:solidFill>
      <a:srgbClr val="FFFFFF"/>
    </a:solidFill>
    <a:ln w="9525">
      <a:noFill/>
    </a:ln>
  </c:spPr>
  <c:txPr>
    <a:bodyPr/>
    <a:lstStyle/>
    <a:p>
      <a:pPr>
        <a:defRPr sz="16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cs-CZ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88407699037618E-2"/>
          <c:y val="5.1400554097404488E-2"/>
          <c:w val="0.88333070866141727"/>
          <c:h val="0.81493438320209977"/>
        </c:manualLayout>
      </c:layout>
      <c:lineChart>
        <c:grouping val="standard"/>
        <c:varyColors val="0"/>
        <c:ser>
          <c:idx val="0"/>
          <c:order val="0"/>
          <c:tx>
            <c:strRef>
              <c:f>Sheet1!$E$1</c:f>
              <c:strCache>
                <c:ptCount val="1"/>
                <c:pt idx="0">
                  <c:v>Japonsko - 10letý výnos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A$4:$A$119</c:f>
              <c:numCache>
                <c:formatCode>m/d/yyyy</c:formatCode>
                <c:ptCount val="116"/>
                <c:pt idx="0">
                  <c:v>41898</c:v>
                </c:pt>
                <c:pt idx="1">
                  <c:v>41820</c:v>
                </c:pt>
                <c:pt idx="2">
                  <c:v>41729</c:v>
                </c:pt>
                <c:pt idx="3">
                  <c:v>41639</c:v>
                </c:pt>
                <c:pt idx="4">
                  <c:v>41547</c:v>
                </c:pt>
                <c:pt idx="5">
                  <c:v>41453</c:v>
                </c:pt>
                <c:pt idx="6">
                  <c:v>41362</c:v>
                </c:pt>
                <c:pt idx="7">
                  <c:v>41274</c:v>
                </c:pt>
                <c:pt idx="8">
                  <c:v>41180</c:v>
                </c:pt>
                <c:pt idx="9">
                  <c:v>41089</c:v>
                </c:pt>
                <c:pt idx="10">
                  <c:v>40998</c:v>
                </c:pt>
                <c:pt idx="11">
                  <c:v>40907</c:v>
                </c:pt>
                <c:pt idx="12">
                  <c:v>40816</c:v>
                </c:pt>
                <c:pt idx="13">
                  <c:v>40724</c:v>
                </c:pt>
                <c:pt idx="14">
                  <c:v>40633</c:v>
                </c:pt>
                <c:pt idx="15">
                  <c:v>40543</c:v>
                </c:pt>
                <c:pt idx="16">
                  <c:v>40451</c:v>
                </c:pt>
                <c:pt idx="17">
                  <c:v>40359</c:v>
                </c:pt>
                <c:pt idx="18">
                  <c:v>40268</c:v>
                </c:pt>
                <c:pt idx="19">
                  <c:v>40178</c:v>
                </c:pt>
                <c:pt idx="20">
                  <c:v>40086</c:v>
                </c:pt>
                <c:pt idx="21">
                  <c:v>39994</c:v>
                </c:pt>
                <c:pt idx="22">
                  <c:v>39903</c:v>
                </c:pt>
                <c:pt idx="23">
                  <c:v>39813</c:v>
                </c:pt>
                <c:pt idx="24">
                  <c:v>39721</c:v>
                </c:pt>
                <c:pt idx="25">
                  <c:v>39629</c:v>
                </c:pt>
                <c:pt idx="26">
                  <c:v>39538</c:v>
                </c:pt>
                <c:pt idx="27">
                  <c:v>39447</c:v>
                </c:pt>
                <c:pt idx="28">
                  <c:v>39353</c:v>
                </c:pt>
                <c:pt idx="29">
                  <c:v>39262</c:v>
                </c:pt>
                <c:pt idx="30">
                  <c:v>39171</c:v>
                </c:pt>
                <c:pt idx="31">
                  <c:v>39080</c:v>
                </c:pt>
                <c:pt idx="32">
                  <c:v>38989</c:v>
                </c:pt>
                <c:pt idx="33">
                  <c:v>38898</c:v>
                </c:pt>
                <c:pt idx="34">
                  <c:v>38807</c:v>
                </c:pt>
                <c:pt idx="35">
                  <c:v>38716</c:v>
                </c:pt>
                <c:pt idx="36">
                  <c:v>38625</c:v>
                </c:pt>
                <c:pt idx="37">
                  <c:v>38533</c:v>
                </c:pt>
                <c:pt idx="38">
                  <c:v>38442</c:v>
                </c:pt>
                <c:pt idx="39">
                  <c:v>38352</c:v>
                </c:pt>
                <c:pt idx="40">
                  <c:v>38260</c:v>
                </c:pt>
                <c:pt idx="41">
                  <c:v>38168</c:v>
                </c:pt>
                <c:pt idx="42">
                  <c:v>38077</c:v>
                </c:pt>
                <c:pt idx="43">
                  <c:v>37986</c:v>
                </c:pt>
                <c:pt idx="44">
                  <c:v>37894</c:v>
                </c:pt>
                <c:pt idx="45">
                  <c:v>37802</c:v>
                </c:pt>
                <c:pt idx="46">
                  <c:v>37711</c:v>
                </c:pt>
                <c:pt idx="47">
                  <c:v>37621</c:v>
                </c:pt>
                <c:pt idx="48">
                  <c:v>37529</c:v>
                </c:pt>
                <c:pt idx="49">
                  <c:v>37435</c:v>
                </c:pt>
                <c:pt idx="50">
                  <c:v>37344</c:v>
                </c:pt>
                <c:pt idx="51">
                  <c:v>37256</c:v>
                </c:pt>
                <c:pt idx="52">
                  <c:v>37162</c:v>
                </c:pt>
                <c:pt idx="53">
                  <c:v>37071</c:v>
                </c:pt>
                <c:pt idx="54">
                  <c:v>36980</c:v>
                </c:pt>
                <c:pt idx="55">
                  <c:v>36889</c:v>
                </c:pt>
                <c:pt idx="56">
                  <c:v>36798</c:v>
                </c:pt>
                <c:pt idx="57">
                  <c:v>36707</c:v>
                </c:pt>
                <c:pt idx="58">
                  <c:v>36616</c:v>
                </c:pt>
                <c:pt idx="59">
                  <c:v>36525</c:v>
                </c:pt>
                <c:pt idx="60">
                  <c:v>36433</c:v>
                </c:pt>
                <c:pt idx="61">
                  <c:v>36341</c:v>
                </c:pt>
                <c:pt idx="62">
                  <c:v>36250</c:v>
                </c:pt>
                <c:pt idx="63">
                  <c:v>36160</c:v>
                </c:pt>
                <c:pt idx="64">
                  <c:v>36068</c:v>
                </c:pt>
                <c:pt idx="65">
                  <c:v>35976</c:v>
                </c:pt>
                <c:pt idx="66">
                  <c:v>35885</c:v>
                </c:pt>
                <c:pt idx="67">
                  <c:v>35795</c:v>
                </c:pt>
                <c:pt idx="68">
                  <c:v>35703</c:v>
                </c:pt>
                <c:pt idx="69">
                  <c:v>35611</c:v>
                </c:pt>
                <c:pt idx="70">
                  <c:v>35520</c:v>
                </c:pt>
                <c:pt idx="71">
                  <c:v>35430</c:v>
                </c:pt>
                <c:pt idx="72">
                  <c:v>35338</c:v>
                </c:pt>
                <c:pt idx="73">
                  <c:v>35244</c:v>
                </c:pt>
                <c:pt idx="74">
                  <c:v>35153</c:v>
                </c:pt>
                <c:pt idx="75">
                  <c:v>35062</c:v>
                </c:pt>
                <c:pt idx="76">
                  <c:v>34971</c:v>
                </c:pt>
                <c:pt idx="77">
                  <c:v>34880</c:v>
                </c:pt>
                <c:pt idx="78">
                  <c:v>34789</c:v>
                </c:pt>
                <c:pt idx="79">
                  <c:v>34698</c:v>
                </c:pt>
                <c:pt idx="80">
                  <c:v>34607</c:v>
                </c:pt>
                <c:pt idx="81">
                  <c:v>34515</c:v>
                </c:pt>
                <c:pt idx="82">
                  <c:v>34424</c:v>
                </c:pt>
                <c:pt idx="83">
                  <c:v>34334</c:v>
                </c:pt>
                <c:pt idx="84">
                  <c:v>34242</c:v>
                </c:pt>
                <c:pt idx="85">
                  <c:v>34150</c:v>
                </c:pt>
                <c:pt idx="86">
                  <c:v>34059</c:v>
                </c:pt>
                <c:pt idx="87">
                  <c:v>33969</c:v>
                </c:pt>
                <c:pt idx="88">
                  <c:v>33877</c:v>
                </c:pt>
                <c:pt idx="89">
                  <c:v>33785</c:v>
                </c:pt>
                <c:pt idx="90">
                  <c:v>33694</c:v>
                </c:pt>
                <c:pt idx="91">
                  <c:v>33603</c:v>
                </c:pt>
                <c:pt idx="92">
                  <c:v>33511</c:v>
                </c:pt>
                <c:pt idx="93">
                  <c:v>33417</c:v>
                </c:pt>
                <c:pt idx="94">
                  <c:v>33326</c:v>
                </c:pt>
                <c:pt idx="95">
                  <c:v>33238</c:v>
                </c:pt>
                <c:pt idx="96">
                  <c:v>33144</c:v>
                </c:pt>
                <c:pt idx="97">
                  <c:v>33053</c:v>
                </c:pt>
                <c:pt idx="98">
                  <c:v>32962</c:v>
                </c:pt>
                <c:pt idx="99">
                  <c:v>32871</c:v>
                </c:pt>
                <c:pt idx="100">
                  <c:v>32780</c:v>
                </c:pt>
                <c:pt idx="101">
                  <c:v>32689</c:v>
                </c:pt>
                <c:pt idx="102">
                  <c:v>32598</c:v>
                </c:pt>
                <c:pt idx="103">
                  <c:v>32507</c:v>
                </c:pt>
                <c:pt idx="104">
                  <c:v>32416</c:v>
                </c:pt>
                <c:pt idx="105">
                  <c:v>32324</c:v>
                </c:pt>
                <c:pt idx="106">
                  <c:v>32233</c:v>
                </c:pt>
                <c:pt idx="107">
                  <c:v>32142</c:v>
                </c:pt>
                <c:pt idx="108">
                  <c:v>32050</c:v>
                </c:pt>
                <c:pt idx="109">
                  <c:v>31958</c:v>
                </c:pt>
                <c:pt idx="110">
                  <c:v>31867</c:v>
                </c:pt>
                <c:pt idx="111">
                  <c:v>31777</c:v>
                </c:pt>
                <c:pt idx="112">
                  <c:v>31685</c:v>
                </c:pt>
                <c:pt idx="113">
                  <c:v>31593</c:v>
                </c:pt>
                <c:pt idx="114">
                  <c:v>31502</c:v>
                </c:pt>
                <c:pt idx="115">
                  <c:v>31412</c:v>
                </c:pt>
              </c:numCache>
            </c:numRef>
          </c:cat>
          <c:val>
            <c:numRef>
              <c:f>Sheet1!$B$4:$B$119</c:f>
              <c:numCache>
                <c:formatCode>General</c:formatCode>
                <c:ptCount val="116"/>
                <c:pt idx="0">
                  <c:v>1.006</c:v>
                </c:pt>
                <c:pt idx="1">
                  <c:v>0.98499999999999999</c:v>
                </c:pt>
                <c:pt idx="2">
                  <c:v>1.0629999999999999</c:v>
                </c:pt>
                <c:pt idx="3">
                  <c:v>1.163</c:v>
                </c:pt>
                <c:pt idx="4">
                  <c:v>1.101</c:v>
                </c:pt>
                <c:pt idx="5">
                  <c:v>1.212</c:v>
                </c:pt>
                <c:pt idx="6">
                  <c:v>0.999</c:v>
                </c:pt>
                <c:pt idx="7">
                  <c:v>1.1379999999999999</c:v>
                </c:pt>
                <c:pt idx="8">
                  <c:v>1.0960000000000001</c:v>
                </c:pt>
                <c:pt idx="9">
                  <c:v>1.135</c:v>
                </c:pt>
                <c:pt idx="10">
                  <c:v>1.266</c:v>
                </c:pt>
                <c:pt idx="11">
                  <c:v>1.2350000000000001</c:v>
                </c:pt>
                <c:pt idx="12">
                  <c:v>1.2490000000000001</c:v>
                </c:pt>
                <c:pt idx="13">
                  <c:v>1.3440000000000001</c:v>
                </c:pt>
                <c:pt idx="14">
                  <c:v>1.4650000000000001</c:v>
                </c:pt>
                <c:pt idx="15">
                  <c:v>1.3779999999999999</c:v>
                </c:pt>
                <c:pt idx="16">
                  <c:v>1.1559999999999999</c:v>
                </c:pt>
                <c:pt idx="17">
                  <c:v>1.294</c:v>
                </c:pt>
                <c:pt idx="18">
                  <c:v>1.575</c:v>
                </c:pt>
                <c:pt idx="19">
                  <c:v>1.4530000000000001</c:v>
                </c:pt>
                <c:pt idx="20">
                  <c:v>1.482</c:v>
                </c:pt>
                <c:pt idx="21">
                  <c:v>1.585</c:v>
                </c:pt>
                <c:pt idx="22">
                  <c:v>1.581</c:v>
                </c:pt>
                <c:pt idx="23">
                  <c:v>1.4179999999999999</c:v>
                </c:pt>
                <c:pt idx="24">
                  <c:v>1.6319999999999999</c:v>
                </c:pt>
                <c:pt idx="25">
                  <c:v>1.8120000000000001</c:v>
                </c:pt>
                <c:pt idx="26">
                  <c:v>1.3859999999999999</c:v>
                </c:pt>
                <c:pt idx="27">
                  <c:v>1.6950000000000001</c:v>
                </c:pt>
                <c:pt idx="28">
                  <c:v>1.857</c:v>
                </c:pt>
                <c:pt idx="29">
                  <c:v>2.12</c:v>
                </c:pt>
                <c:pt idx="30">
                  <c:v>1.9259999999999999</c:v>
                </c:pt>
                <c:pt idx="31">
                  <c:v>1.9350000000000001</c:v>
                </c:pt>
                <c:pt idx="32">
                  <c:v>1.869</c:v>
                </c:pt>
                <c:pt idx="33">
                  <c:v>2.153</c:v>
                </c:pt>
                <c:pt idx="34">
                  <c:v>1.988</c:v>
                </c:pt>
                <c:pt idx="35">
                  <c:v>1.649</c:v>
                </c:pt>
                <c:pt idx="36">
                  <c:v>1.623</c:v>
                </c:pt>
                <c:pt idx="37">
                  <c:v>1.331</c:v>
                </c:pt>
                <c:pt idx="38">
                  <c:v>1.476</c:v>
                </c:pt>
                <c:pt idx="39">
                  <c:v>1.5640000000000001</c:v>
                </c:pt>
                <c:pt idx="40">
                  <c:v>1.5960000000000001</c:v>
                </c:pt>
                <c:pt idx="41">
                  <c:v>1.843</c:v>
                </c:pt>
                <c:pt idx="42">
                  <c:v>1.6319999999999999</c:v>
                </c:pt>
                <c:pt idx="43">
                  <c:v>1.6060000000000001</c:v>
                </c:pt>
                <c:pt idx="44">
                  <c:v>1.68</c:v>
                </c:pt>
                <c:pt idx="45">
                  <c:v>1.302</c:v>
                </c:pt>
                <c:pt idx="46">
                  <c:v>1.1839999999999999</c:v>
                </c:pt>
                <c:pt idx="47">
                  <c:v>1.262</c:v>
                </c:pt>
                <c:pt idx="48">
                  <c:v>1.3959999999999999</c:v>
                </c:pt>
                <c:pt idx="49">
                  <c:v>1.5049999999999999</c:v>
                </c:pt>
                <c:pt idx="50">
                  <c:v>1.597</c:v>
                </c:pt>
                <c:pt idx="51">
                  <c:v>1.575</c:v>
                </c:pt>
                <c:pt idx="52">
                  <c:v>1.4690000000000001</c:v>
                </c:pt>
                <c:pt idx="53">
                  <c:v>1.375</c:v>
                </c:pt>
                <c:pt idx="54">
                  <c:v>1.5089999999999999</c:v>
                </c:pt>
                <c:pt idx="55">
                  <c:v>1.86</c:v>
                </c:pt>
                <c:pt idx="56">
                  <c:v>2.081</c:v>
                </c:pt>
                <c:pt idx="57">
                  <c:v>2.052</c:v>
                </c:pt>
                <c:pt idx="58">
                  <c:v>2.1669999999999998</c:v>
                </c:pt>
                <c:pt idx="59">
                  <c:v>2.0470000000000002</c:v>
                </c:pt>
                <c:pt idx="60">
                  <c:v>2.2320000000000002</c:v>
                </c:pt>
                <c:pt idx="61">
                  <c:v>2.379</c:v>
                </c:pt>
                <c:pt idx="62">
                  <c:v>2.0750000000000002</c:v>
                </c:pt>
                <c:pt idx="63">
                  <c:v>2.5089999999999999</c:v>
                </c:pt>
                <c:pt idx="64">
                  <c:v>1.522</c:v>
                </c:pt>
                <c:pt idx="65">
                  <c:v>2.0569999999999999</c:v>
                </c:pt>
                <c:pt idx="66">
                  <c:v>2.29</c:v>
                </c:pt>
                <c:pt idx="67">
                  <c:v>2.3260000000000001</c:v>
                </c:pt>
                <c:pt idx="68">
                  <c:v>2.4390000000000001</c:v>
                </c:pt>
                <c:pt idx="69">
                  <c:v>2.8919999999999999</c:v>
                </c:pt>
                <c:pt idx="70">
                  <c:v>2.706</c:v>
                </c:pt>
                <c:pt idx="71">
                  <c:v>2.8820000000000001</c:v>
                </c:pt>
                <c:pt idx="72">
                  <c:v>3.093</c:v>
                </c:pt>
                <c:pt idx="73">
                  <c:v>3.411</c:v>
                </c:pt>
                <c:pt idx="74">
                  <c:v>3.391</c:v>
                </c:pt>
                <c:pt idx="75">
                  <c:v>3.3559999999999999</c:v>
                </c:pt>
                <c:pt idx="76">
                  <c:v>3.206</c:v>
                </c:pt>
                <c:pt idx="77">
                  <c:v>3.2469999999999999</c:v>
                </c:pt>
                <c:pt idx="78">
                  <c:v>3.9660000000000002</c:v>
                </c:pt>
                <c:pt idx="79">
                  <c:v>4.7350000000000003</c:v>
                </c:pt>
                <c:pt idx="80">
                  <c:v>4.8120000000000003</c:v>
                </c:pt>
                <c:pt idx="81">
                  <c:v>4.6429999999999998</c:v>
                </c:pt>
                <c:pt idx="82">
                  <c:v>4.2409999999999997</c:v>
                </c:pt>
                <c:pt idx="83">
                  <c:v>3.613</c:v>
                </c:pt>
                <c:pt idx="84">
                  <c:v>4.149</c:v>
                </c:pt>
                <c:pt idx="85">
                  <c:v>4.726</c:v>
                </c:pt>
                <c:pt idx="86">
                  <c:v>4.7450000000000001</c:v>
                </c:pt>
                <c:pt idx="87">
                  <c:v>4.766</c:v>
                </c:pt>
                <c:pt idx="88">
                  <c:v>5.0170000000000003</c:v>
                </c:pt>
                <c:pt idx="89">
                  <c:v>5.5410000000000004</c:v>
                </c:pt>
                <c:pt idx="90">
                  <c:v>5.556</c:v>
                </c:pt>
                <c:pt idx="91">
                  <c:v>5.5529999999999999</c:v>
                </c:pt>
                <c:pt idx="92">
                  <c:v>6.0880000000000001</c:v>
                </c:pt>
                <c:pt idx="93">
                  <c:v>6.8769999999999998</c:v>
                </c:pt>
                <c:pt idx="94">
                  <c:v>6.6539999999999999</c:v>
                </c:pt>
                <c:pt idx="95">
                  <c:v>6.806</c:v>
                </c:pt>
                <c:pt idx="96">
                  <c:v>8.359</c:v>
                </c:pt>
                <c:pt idx="97">
                  <c:v>7.03</c:v>
                </c:pt>
                <c:pt idx="98">
                  <c:v>7.1479999999999997</c:v>
                </c:pt>
                <c:pt idx="99">
                  <c:v>5.5170000000000003</c:v>
                </c:pt>
                <c:pt idx="100">
                  <c:v>5.1779999999999999</c:v>
                </c:pt>
                <c:pt idx="101">
                  <c:v>5.5259999999999998</c:v>
                </c:pt>
                <c:pt idx="102">
                  <c:v>5.3090000000000002</c:v>
                </c:pt>
                <c:pt idx="103">
                  <c:v>5.0090000000000003</c:v>
                </c:pt>
                <c:pt idx="104">
                  <c:v>5.6779999999999999</c:v>
                </c:pt>
                <c:pt idx="105">
                  <c:v>5.5350000000000001</c:v>
                </c:pt>
                <c:pt idx="106">
                  <c:v>4.8140000000000001</c:v>
                </c:pt>
                <c:pt idx="107">
                  <c:v>4.9850000000000003</c:v>
                </c:pt>
                <c:pt idx="108">
                  <c:v>6.4109999999999996</c:v>
                </c:pt>
                <c:pt idx="109">
                  <c:v>4.5449999999999999</c:v>
                </c:pt>
                <c:pt idx="110">
                  <c:v>4.7409999999999997</c:v>
                </c:pt>
                <c:pt idx="111">
                  <c:v>5.306</c:v>
                </c:pt>
                <c:pt idx="112">
                  <c:v>5.5709999999999997</c:v>
                </c:pt>
                <c:pt idx="113">
                  <c:v>5.5289999999999999</c:v>
                </c:pt>
                <c:pt idx="114">
                  <c:v>5.1269999999999998</c:v>
                </c:pt>
                <c:pt idx="115">
                  <c:v>5.984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$J$1</c:f>
              <c:strCache>
                <c:ptCount val="1"/>
                <c:pt idx="0">
                  <c:v>Německo - 10letý výnos</c:v>
                </c:pt>
              </c:strCache>
            </c:strRef>
          </c:tx>
          <c:spPr>
            <a:ln w="38100">
              <a:solidFill>
                <a:schemeClr val="accent6"/>
              </a:solidFill>
            </a:ln>
          </c:spPr>
          <c:marker>
            <c:symbol val="none"/>
          </c:marker>
          <c:cat>
            <c:numRef>
              <c:f>Sheet1!$A$4:$A$119</c:f>
              <c:numCache>
                <c:formatCode>m/d/yyyy</c:formatCode>
                <c:ptCount val="116"/>
                <c:pt idx="0">
                  <c:v>41898</c:v>
                </c:pt>
                <c:pt idx="1">
                  <c:v>41820</c:v>
                </c:pt>
                <c:pt idx="2">
                  <c:v>41729</c:v>
                </c:pt>
                <c:pt idx="3">
                  <c:v>41639</c:v>
                </c:pt>
                <c:pt idx="4">
                  <c:v>41547</c:v>
                </c:pt>
                <c:pt idx="5">
                  <c:v>41453</c:v>
                </c:pt>
                <c:pt idx="6">
                  <c:v>41362</c:v>
                </c:pt>
                <c:pt idx="7">
                  <c:v>41274</c:v>
                </c:pt>
                <c:pt idx="8">
                  <c:v>41180</c:v>
                </c:pt>
                <c:pt idx="9">
                  <c:v>41089</c:v>
                </c:pt>
                <c:pt idx="10">
                  <c:v>40998</c:v>
                </c:pt>
                <c:pt idx="11">
                  <c:v>40907</c:v>
                </c:pt>
                <c:pt idx="12">
                  <c:v>40816</c:v>
                </c:pt>
                <c:pt idx="13">
                  <c:v>40724</c:v>
                </c:pt>
                <c:pt idx="14">
                  <c:v>40633</c:v>
                </c:pt>
                <c:pt idx="15">
                  <c:v>40543</c:v>
                </c:pt>
                <c:pt idx="16">
                  <c:v>40451</c:v>
                </c:pt>
                <c:pt idx="17">
                  <c:v>40359</c:v>
                </c:pt>
                <c:pt idx="18">
                  <c:v>40268</c:v>
                </c:pt>
                <c:pt idx="19">
                  <c:v>40178</c:v>
                </c:pt>
                <c:pt idx="20">
                  <c:v>40086</c:v>
                </c:pt>
                <c:pt idx="21">
                  <c:v>39994</c:v>
                </c:pt>
                <c:pt idx="22">
                  <c:v>39903</c:v>
                </c:pt>
                <c:pt idx="23">
                  <c:v>39813</c:v>
                </c:pt>
                <c:pt idx="24">
                  <c:v>39721</c:v>
                </c:pt>
                <c:pt idx="25">
                  <c:v>39629</c:v>
                </c:pt>
                <c:pt idx="26">
                  <c:v>39538</c:v>
                </c:pt>
                <c:pt idx="27">
                  <c:v>39447</c:v>
                </c:pt>
                <c:pt idx="28">
                  <c:v>39353</c:v>
                </c:pt>
                <c:pt idx="29">
                  <c:v>39262</c:v>
                </c:pt>
                <c:pt idx="30">
                  <c:v>39171</c:v>
                </c:pt>
                <c:pt idx="31">
                  <c:v>39080</c:v>
                </c:pt>
                <c:pt idx="32">
                  <c:v>38989</c:v>
                </c:pt>
                <c:pt idx="33">
                  <c:v>38898</c:v>
                </c:pt>
                <c:pt idx="34">
                  <c:v>38807</c:v>
                </c:pt>
                <c:pt idx="35">
                  <c:v>38716</c:v>
                </c:pt>
                <c:pt idx="36">
                  <c:v>38625</c:v>
                </c:pt>
                <c:pt idx="37">
                  <c:v>38533</c:v>
                </c:pt>
                <c:pt idx="38">
                  <c:v>38442</c:v>
                </c:pt>
                <c:pt idx="39">
                  <c:v>38352</c:v>
                </c:pt>
                <c:pt idx="40">
                  <c:v>38260</c:v>
                </c:pt>
                <c:pt idx="41">
                  <c:v>38168</c:v>
                </c:pt>
                <c:pt idx="42">
                  <c:v>38077</c:v>
                </c:pt>
                <c:pt idx="43">
                  <c:v>37986</c:v>
                </c:pt>
                <c:pt idx="44">
                  <c:v>37894</c:v>
                </c:pt>
                <c:pt idx="45">
                  <c:v>37802</c:v>
                </c:pt>
                <c:pt idx="46">
                  <c:v>37711</c:v>
                </c:pt>
                <c:pt idx="47">
                  <c:v>37621</c:v>
                </c:pt>
                <c:pt idx="48">
                  <c:v>37529</c:v>
                </c:pt>
                <c:pt idx="49">
                  <c:v>37435</c:v>
                </c:pt>
                <c:pt idx="50">
                  <c:v>37344</c:v>
                </c:pt>
                <c:pt idx="51">
                  <c:v>37256</c:v>
                </c:pt>
                <c:pt idx="52">
                  <c:v>37162</c:v>
                </c:pt>
                <c:pt idx="53">
                  <c:v>37071</c:v>
                </c:pt>
                <c:pt idx="54">
                  <c:v>36980</c:v>
                </c:pt>
                <c:pt idx="55">
                  <c:v>36889</c:v>
                </c:pt>
                <c:pt idx="56">
                  <c:v>36798</c:v>
                </c:pt>
                <c:pt idx="57">
                  <c:v>36707</c:v>
                </c:pt>
                <c:pt idx="58">
                  <c:v>36616</c:v>
                </c:pt>
                <c:pt idx="59">
                  <c:v>36525</c:v>
                </c:pt>
                <c:pt idx="60">
                  <c:v>36433</c:v>
                </c:pt>
                <c:pt idx="61">
                  <c:v>36341</c:v>
                </c:pt>
                <c:pt idx="62">
                  <c:v>36250</c:v>
                </c:pt>
                <c:pt idx="63">
                  <c:v>36160</c:v>
                </c:pt>
                <c:pt idx="64">
                  <c:v>36068</c:v>
                </c:pt>
                <c:pt idx="65">
                  <c:v>35976</c:v>
                </c:pt>
                <c:pt idx="66">
                  <c:v>35885</c:v>
                </c:pt>
                <c:pt idx="67">
                  <c:v>35795</c:v>
                </c:pt>
                <c:pt idx="68">
                  <c:v>35703</c:v>
                </c:pt>
                <c:pt idx="69">
                  <c:v>35611</c:v>
                </c:pt>
                <c:pt idx="70">
                  <c:v>35520</c:v>
                </c:pt>
                <c:pt idx="71">
                  <c:v>35430</c:v>
                </c:pt>
                <c:pt idx="72">
                  <c:v>35338</c:v>
                </c:pt>
                <c:pt idx="73">
                  <c:v>35244</c:v>
                </c:pt>
                <c:pt idx="74">
                  <c:v>35153</c:v>
                </c:pt>
                <c:pt idx="75">
                  <c:v>35062</c:v>
                </c:pt>
                <c:pt idx="76">
                  <c:v>34971</c:v>
                </c:pt>
                <c:pt idx="77">
                  <c:v>34880</c:v>
                </c:pt>
                <c:pt idx="78">
                  <c:v>34789</c:v>
                </c:pt>
                <c:pt idx="79">
                  <c:v>34698</c:v>
                </c:pt>
                <c:pt idx="80">
                  <c:v>34607</c:v>
                </c:pt>
                <c:pt idx="81">
                  <c:v>34515</c:v>
                </c:pt>
                <c:pt idx="82">
                  <c:v>34424</c:v>
                </c:pt>
                <c:pt idx="83">
                  <c:v>34334</c:v>
                </c:pt>
                <c:pt idx="84">
                  <c:v>34242</c:v>
                </c:pt>
                <c:pt idx="85">
                  <c:v>34150</c:v>
                </c:pt>
                <c:pt idx="86">
                  <c:v>34059</c:v>
                </c:pt>
                <c:pt idx="87">
                  <c:v>33969</c:v>
                </c:pt>
                <c:pt idx="88">
                  <c:v>33877</c:v>
                </c:pt>
                <c:pt idx="89">
                  <c:v>33785</c:v>
                </c:pt>
                <c:pt idx="90">
                  <c:v>33694</c:v>
                </c:pt>
                <c:pt idx="91">
                  <c:v>33603</c:v>
                </c:pt>
                <c:pt idx="92">
                  <c:v>33511</c:v>
                </c:pt>
                <c:pt idx="93">
                  <c:v>33417</c:v>
                </c:pt>
                <c:pt idx="94">
                  <c:v>33326</c:v>
                </c:pt>
                <c:pt idx="95">
                  <c:v>33238</c:v>
                </c:pt>
                <c:pt idx="96">
                  <c:v>33144</c:v>
                </c:pt>
                <c:pt idx="97">
                  <c:v>33053</c:v>
                </c:pt>
                <c:pt idx="98">
                  <c:v>32962</c:v>
                </c:pt>
                <c:pt idx="99">
                  <c:v>32871</c:v>
                </c:pt>
                <c:pt idx="100">
                  <c:v>32780</c:v>
                </c:pt>
                <c:pt idx="101">
                  <c:v>32689</c:v>
                </c:pt>
                <c:pt idx="102">
                  <c:v>32598</c:v>
                </c:pt>
                <c:pt idx="103">
                  <c:v>32507</c:v>
                </c:pt>
                <c:pt idx="104">
                  <c:v>32416</c:v>
                </c:pt>
                <c:pt idx="105">
                  <c:v>32324</c:v>
                </c:pt>
                <c:pt idx="106">
                  <c:v>32233</c:v>
                </c:pt>
                <c:pt idx="107">
                  <c:v>32142</c:v>
                </c:pt>
                <c:pt idx="108">
                  <c:v>32050</c:v>
                </c:pt>
                <c:pt idx="109">
                  <c:v>31958</c:v>
                </c:pt>
                <c:pt idx="110">
                  <c:v>31867</c:v>
                </c:pt>
                <c:pt idx="111">
                  <c:v>31777</c:v>
                </c:pt>
                <c:pt idx="112">
                  <c:v>31685</c:v>
                </c:pt>
                <c:pt idx="113">
                  <c:v>31593</c:v>
                </c:pt>
                <c:pt idx="114">
                  <c:v>31502</c:v>
                </c:pt>
                <c:pt idx="115">
                  <c:v>31412</c:v>
                </c:pt>
              </c:numCache>
            </c:numRef>
          </c:cat>
          <c:val>
            <c:numRef>
              <c:f>Sheet1!$J$4:$J$119</c:f>
              <c:numCache>
                <c:formatCode>General</c:formatCode>
                <c:ptCount val="116"/>
                <c:pt idx="1">
                  <c:v>1.0569999999999999</c:v>
                </c:pt>
                <c:pt idx="2">
                  <c:v>1.244</c:v>
                </c:pt>
                <c:pt idx="3">
                  <c:v>1.5649999999999999</c:v>
                </c:pt>
                <c:pt idx="4">
                  <c:v>1.925</c:v>
                </c:pt>
                <c:pt idx="5">
                  <c:v>1.778</c:v>
                </c:pt>
                <c:pt idx="6">
                  <c:v>1.728</c:v>
                </c:pt>
                <c:pt idx="7">
                  <c:v>1.288</c:v>
                </c:pt>
                <c:pt idx="8">
                  <c:v>1.3140000000000001</c:v>
                </c:pt>
                <c:pt idx="9">
                  <c:v>1.4410000000000001</c:v>
                </c:pt>
                <c:pt idx="10">
                  <c:v>1.581</c:v>
                </c:pt>
                <c:pt idx="11">
                  <c:v>1.792</c:v>
                </c:pt>
                <c:pt idx="12">
                  <c:v>1.825</c:v>
                </c:pt>
                <c:pt idx="13">
                  <c:v>1.885</c:v>
                </c:pt>
                <c:pt idx="14">
                  <c:v>3.0230000000000001</c:v>
                </c:pt>
                <c:pt idx="15">
                  <c:v>3.3519999999999999</c:v>
                </c:pt>
                <c:pt idx="16">
                  <c:v>2.9630000000000001</c:v>
                </c:pt>
                <c:pt idx="17">
                  <c:v>2.278</c:v>
                </c:pt>
                <c:pt idx="18">
                  <c:v>2.577</c:v>
                </c:pt>
                <c:pt idx="19">
                  <c:v>3.0920000000000001</c:v>
                </c:pt>
                <c:pt idx="20">
                  <c:v>3.387</c:v>
                </c:pt>
                <c:pt idx="21">
                  <c:v>3.22</c:v>
                </c:pt>
                <c:pt idx="22">
                  <c:v>3.3860000000000001</c:v>
                </c:pt>
                <c:pt idx="23">
                  <c:v>2.9940000000000002</c:v>
                </c:pt>
                <c:pt idx="24">
                  <c:v>2.9510000000000001</c:v>
                </c:pt>
                <c:pt idx="25">
                  <c:v>4.0149999999999997</c:v>
                </c:pt>
                <c:pt idx="26">
                  <c:v>4.6210000000000004</c:v>
                </c:pt>
                <c:pt idx="27">
                  <c:v>3.899</c:v>
                </c:pt>
                <c:pt idx="28">
                  <c:v>4.3070000000000004</c:v>
                </c:pt>
                <c:pt idx="29">
                  <c:v>4.3289999999999997</c:v>
                </c:pt>
                <c:pt idx="30">
                  <c:v>4.5739999999999998</c:v>
                </c:pt>
                <c:pt idx="31">
                  <c:v>4.0570000000000004</c:v>
                </c:pt>
                <c:pt idx="32">
                  <c:v>3.948</c:v>
                </c:pt>
                <c:pt idx="33">
                  <c:v>3.7090000000000001</c:v>
                </c:pt>
                <c:pt idx="34">
                  <c:v>4.0709999999999997</c:v>
                </c:pt>
                <c:pt idx="35">
                  <c:v>3.7709999999999999</c:v>
                </c:pt>
                <c:pt idx="36">
                  <c:v>3.3090000000000002</c:v>
                </c:pt>
                <c:pt idx="37">
                  <c:v>3.1480000000000001</c:v>
                </c:pt>
                <c:pt idx="38">
                  <c:v>3.1339999999999999</c:v>
                </c:pt>
                <c:pt idx="39">
                  <c:v>3.6219999999999999</c:v>
                </c:pt>
                <c:pt idx="40">
                  <c:v>3.6829999999999998</c:v>
                </c:pt>
                <c:pt idx="41">
                  <c:v>3.9910000000000001</c:v>
                </c:pt>
                <c:pt idx="42">
                  <c:v>4.3179999999999996</c:v>
                </c:pt>
                <c:pt idx="43">
                  <c:v>3.931</c:v>
                </c:pt>
                <c:pt idx="44">
                  <c:v>4.2919999999999998</c:v>
                </c:pt>
                <c:pt idx="45">
                  <c:v>3.9950000000000001</c:v>
                </c:pt>
                <c:pt idx="46">
                  <c:v>3.802</c:v>
                </c:pt>
                <c:pt idx="47">
                  <c:v>4.0439999999999996</c:v>
                </c:pt>
                <c:pt idx="48">
                  <c:v>4.2039999999999997</c:v>
                </c:pt>
                <c:pt idx="49">
                  <c:v>4.2720000000000002</c:v>
                </c:pt>
                <c:pt idx="50">
                  <c:v>4.9420000000000002</c:v>
                </c:pt>
                <c:pt idx="51">
                  <c:v>5.2549999999999999</c:v>
                </c:pt>
                <c:pt idx="52">
                  <c:v>4.9980000000000002</c:v>
                </c:pt>
                <c:pt idx="53">
                  <c:v>4.7910000000000004</c:v>
                </c:pt>
                <c:pt idx="54">
                  <c:v>5.1029999999999998</c:v>
                </c:pt>
                <c:pt idx="55">
                  <c:v>4.7050000000000001</c:v>
                </c:pt>
                <c:pt idx="56">
                  <c:v>4.851</c:v>
                </c:pt>
                <c:pt idx="57">
                  <c:v>5.23</c:v>
                </c:pt>
                <c:pt idx="58">
                  <c:v>5.2210000000000001</c:v>
                </c:pt>
                <c:pt idx="59">
                  <c:v>5.2160000000000002</c:v>
                </c:pt>
                <c:pt idx="60">
                  <c:v>5.3579999999999997</c:v>
                </c:pt>
                <c:pt idx="61">
                  <c:v>5.08</c:v>
                </c:pt>
                <c:pt idx="62">
                  <c:v>4.5110000000000001</c:v>
                </c:pt>
                <c:pt idx="63">
                  <c:v>4.0010000000000003</c:v>
                </c:pt>
                <c:pt idx="64">
                  <c:v>3.8660000000000001</c:v>
                </c:pt>
                <c:pt idx="65">
                  <c:v>3.8980000000000001</c:v>
                </c:pt>
                <c:pt idx="66">
                  <c:v>4.7789999999999999</c:v>
                </c:pt>
                <c:pt idx="67">
                  <c:v>4.915</c:v>
                </c:pt>
                <c:pt idx="68">
                  <c:v>5.3680000000000003</c:v>
                </c:pt>
                <c:pt idx="69">
                  <c:v>5.52</c:v>
                </c:pt>
                <c:pt idx="70">
                  <c:v>5.7069999999999999</c:v>
                </c:pt>
                <c:pt idx="71">
                  <c:v>5.931</c:v>
                </c:pt>
                <c:pt idx="72">
                  <c:v>5.7789999999999999</c:v>
                </c:pt>
                <c:pt idx="73">
                  <c:v>6.0960000000000001</c:v>
                </c:pt>
                <c:pt idx="74">
                  <c:v>6.5049999999999999</c:v>
                </c:pt>
                <c:pt idx="75">
                  <c:v>6.4379999999999997</c:v>
                </c:pt>
                <c:pt idx="76">
                  <c:v>6.0309999999999997</c:v>
                </c:pt>
                <c:pt idx="77">
                  <c:v>6.6029999999999998</c:v>
                </c:pt>
                <c:pt idx="78">
                  <c:v>6.94</c:v>
                </c:pt>
                <c:pt idx="79">
                  <c:v>7.1890000000000001</c:v>
                </c:pt>
                <c:pt idx="80">
                  <c:v>7.6210000000000004</c:v>
                </c:pt>
                <c:pt idx="81">
                  <c:v>7.5979999999999999</c:v>
                </c:pt>
                <c:pt idx="82">
                  <c:v>7.0819999999999999</c:v>
                </c:pt>
                <c:pt idx="83">
                  <c:v>6.3280000000000003</c:v>
                </c:pt>
                <c:pt idx="84">
                  <c:v>5.532</c:v>
                </c:pt>
                <c:pt idx="85">
                  <c:v>6.0970000000000004</c:v>
                </c:pt>
                <c:pt idx="86">
                  <c:v>6.617</c:v>
                </c:pt>
                <c:pt idx="87">
                  <c:v>6.673</c:v>
                </c:pt>
                <c:pt idx="88">
                  <c:v>7.1980000000000004</c:v>
                </c:pt>
                <c:pt idx="89">
                  <c:v>7.4720000000000004</c:v>
                </c:pt>
                <c:pt idx="90">
                  <c:v>8.0340000000000007</c:v>
                </c:pt>
                <c:pt idx="91">
                  <c:v>8.0009999999999994</c:v>
                </c:pt>
                <c:pt idx="92">
                  <c:v>8.0090000000000003</c:v>
                </c:pt>
                <c:pt idx="93">
                  <c:v>8.3970000000000002</c:v>
                </c:pt>
                <c:pt idx="94">
                  <c:v>8.4920000000000009</c:v>
                </c:pt>
                <c:pt idx="95">
                  <c:v>8.484</c:v>
                </c:pt>
                <c:pt idx="96">
                  <c:v>8.9920000000000009</c:v>
                </c:pt>
                <c:pt idx="97">
                  <c:v>9.12899999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819712"/>
        <c:axId val="102821248"/>
      </c:lineChart>
      <c:dateAx>
        <c:axId val="102819712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crossAx val="102821248"/>
        <c:crosses val="autoZero"/>
        <c:auto val="1"/>
        <c:lblOffset val="100"/>
        <c:baseTimeUnit val="months"/>
        <c:majorUnit val="36"/>
        <c:majorTimeUnit val="months"/>
      </c:dateAx>
      <c:valAx>
        <c:axId val="10282124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roční výnos v %</a:t>
                </a:r>
              </a:p>
            </c:rich>
          </c:tx>
          <c:layout>
            <c:manualLayout>
              <c:xMode val="edge"/>
              <c:yMode val="edge"/>
              <c:x val="1.8211166125286782E-2"/>
              <c:y val="0.3602163766872745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2819712"/>
        <c:crosses val="autoZero"/>
        <c:crossBetween val="between"/>
        <c:majorUnit val="2"/>
      </c:valAx>
    </c:plotArea>
    <c:legend>
      <c:legendPos val="r"/>
      <c:layout>
        <c:manualLayout>
          <c:xMode val="edge"/>
          <c:yMode val="edge"/>
          <c:x val="9.8656967407661778E-2"/>
          <c:y val="0.63062170684625518"/>
          <c:w val="0.31297950188906748"/>
          <c:h val="0.16743438320209975"/>
        </c:manualLayout>
      </c:layout>
      <c:overlay val="0"/>
    </c:legend>
    <c:plotVisOnly val="1"/>
    <c:dispBlanksAs val="gap"/>
    <c:showDLblsOverMax val="0"/>
  </c:chart>
  <c:spPr>
    <a:solidFill>
      <a:schemeClr val="bg1">
        <a:alpha val="43000"/>
      </a:schemeClr>
    </a:solidFill>
    <a:ln>
      <a:noFill/>
    </a:ln>
  </c:spPr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28308303567317"/>
          <c:y val="5.1400554097404488E-2"/>
          <c:w val="0.81100572954696448"/>
          <c:h val="0.78278032954214061"/>
        </c:manualLayout>
      </c:layout>
      <c:lineChart>
        <c:grouping val="standard"/>
        <c:varyColors val="0"/>
        <c:ser>
          <c:idx val="0"/>
          <c:order val="0"/>
          <c:tx>
            <c:strRef>
              <c:f>Data!$A$12</c:f>
              <c:strCache>
                <c:ptCount val="1"/>
                <c:pt idx="0">
                  <c:v>Japonsko</c:v>
                </c:pt>
              </c:strCache>
            </c:strRef>
          </c:tx>
          <c:spPr>
            <a:ln w="28575">
              <a:solidFill>
                <a:srgbClr val="C00000"/>
              </a:solidFill>
            </a:ln>
          </c:spPr>
          <c:marker>
            <c:symbol val="none"/>
          </c:marker>
          <c:cat>
            <c:strRef>
              <c:f>Data!$C$10:$AB$10</c:f>
              <c:strCache>
                <c:ptCount val="26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</c:strCache>
            </c:strRef>
          </c:cat>
          <c:val>
            <c:numRef>
              <c:f>Data!$C$12:$AB$12</c:f>
              <c:numCache>
                <c:formatCode>#,##0.0</c:formatCode>
                <c:ptCount val="26"/>
                <c:pt idx="0">
                  <c:v>17.100000000000001</c:v>
                </c:pt>
                <c:pt idx="1">
                  <c:v>16.7</c:v>
                </c:pt>
                <c:pt idx="2">
                  <c:v>16.8</c:v>
                </c:pt>
                <c:pt idx="3">
                  <c:v>16.899999999999999</c:v>
                </c:pt>
                <c:pt idx="4">
                  <c:v>15.6</c:v>
                </c:pt>
                <c:pt idx="5">
                  <c:v>13.8</c:v>
                </c:pt>
                <c:pt idx="6">
                  <c:v>11.7</c:v>
                </c:pt>
                <c:pt idx="7">
                  <c:v>10.7</c:v>
                </c:pt>
                <c:pt idx="8">
                  <c:v>10.9</c:v>
                </c:pt>
                <c:pt idx="9">
                  <c:v>10.9</c:v>
                </c:pt>
                <c:pt idx="10">
                  <c:v>9.1999999999999993</c:v>
                </c:pt>
                <c:pt idx="11">
                  <c:v>7.7</c:v>
                </c:pt>
                <c:pt idx="12">
                  <c:v>7.7</c:v>
                </c:pt>
                <c:pt idx="13">
                  <c:v>5.5</c:v>
                </c:pt>
                <c:pt idx="14">
                  <c:v>4.8</c:v>
                </c:pt>
                <c:pt idx="15">
                  <c:v>4.5</c:v>
                </c:pt>
                <c:pt idx="16">
                  <c:v>4.7</c:v>
                </c:pt>
                <c:pt idx="17">
                  <c:v>6</c:v>
                </c:pt>
                <c:pt idx="18">
                  <c:v>6</c:v>
                </c:pt>
                <c:pt idx="19">
                  <c:v>6.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ta!$A$11</c:f>
              <c:strCache>
                <c:ptCount val="1"/>
                <c:pt idx="0">
                  <c:v>Eurozóna</c:v>
                </c:pt>
              </c:strCache>
            </c:strRef>
          </c:tx>
          <c:spPr>
            <a:ln w="41275"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strRef>
              <c:f>Data!$C$10:$AB$10</c:f>
              <c:strCache>
                <c:ptCount val="26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</c:strCache>
            </c:strRef>
          </c:cat>
          <c:val>
            <c:numRef>
              <c:f>Data!$C$11:$AB$11</c:f>
              <c:numCache>
                <c:formatCode>General</c:formatCode>
                <c:ptCount val="26"/>
                <c:pt idx="7" formatCode="#,##0.0">
                  <c:v>7.6</c:v>
                </c:pt>
                <c:pt idx="8" formatCode="#,##0.0">
                  <c:v>7.3</c:v>
                </c:pt>
                <c:pt idx="9" formatCode="#,##0.0">
                  <c:v>7.9</c:v>
                </c:pt>
                <c:pt idx="10" formatCode="#,##0.0">
                  <c:v>8.1</c:v>
                </c:pt>
                <c:pt idx="11" formatCode="#,##0.0">
                  <c:v>8.1999999999999993</c:v>
                </c:pt>
                <c:pt idx="12" formatCode="#,##0.0">
                  <c:v>8.1</c:v>
                </c:pt>
                <c:pt idx="13" formatCode="#,##0.0">
                  <c:v>7.5</c:v>
                </c:pt>
                <c:pt idx="14" formatCode="#,##0.0">
                  <c:v>7</c:v>
                </c:pt>
                <c:pt idx="15" formatCode="#,##0.0">
                  <c:v>6.5</c:v>
                </c:pt>
                <c:pt idx="16" formatCode="#,##0.0">
                  <c:v>7.5</c:v>
                </c:pt>
                <c:pt idx="17" formatCode="#,##0.0">
                  <c:v>7.1</c:v>
                </c:pt>
                <c:pt idx="18" formatCode="#,##0.0">
                  <c:v>8.1</c:v>
                </c:pt>
                <c:pt idx="19" formatCode="#,##0.0">
                  <c:v>8.8000000000000007</c:v>
                </c:pt>
                <c:pt idx="20" formatCode="#,##0.0">
                  <c:v>6.8</c:v>
                </c:pt>
                <c:pt idx="21" formatCode="#,##0.0">
                  <c:v>3.3</c:v>
                </c:pt>
                <c:pt idx="22" formatCode="#,##0.0">
                  <c:v>4</c:v>
                </c:pt>
                <c:pt idx="23" formatCode="#,##0.0">
                  <c:v>4.5</c:v>
                </c:pt>
                <c:pt idx="24" formatCode="#,##0.0">
                  <c:v>4.4000000000000004</c:v>
                </c:pt>
                <c:pt idx="25" formatCode="#,##0.0">
                  <c:v>4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2999552"/>
        <c:axId val="103001088"/>
      </c:lineChart>
      <c:catAx>
        <c:axId val="102999552"/>
        <c:scaling>
          <c:orientation val="minMax"/>
        </c:scaling>
        <c:delete val="0"/>
        <c:axPos val="b"/>
        <c:numFmt formatCode="#,##0.00" sourceLinked="0"/>
        <c:majorTickMark val="none"/>
        <c:minorTickMark val="none"/>
        <c:tickLblPos val="nextTo"/>
        <c:crossAx val="103001088"/>
        <c:crosses val="autoZero"/>
        <c:auto val="1"/>
        <c:lblAlgn val="ctr"/>
        <c:lblOffset val="100"/>
        <c:tickMarkSkip val="5"/>
        <c:noMultiLvlLbl val="0"/>
      </c:catAx>
      <c:valAx>
        <c:axId val="103001088"/>
        <c:scaling>
          <c:orientation val="minMax"/>
          <c:max val="4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 smtClean="0"/>
                  <a:t>v </a:t>
                </a:r>
                <a:r>
                  <a:rPr lang="cs-CZ" dirty="0"/>
                  <a:t>% HDP</a:t>
                </a:r>
                <a:endParaRPr lang="en-US" dirty="0"/>
              </a:p>
            </c:rich>
          </c:tx>
          <c:overlay val="0"/>
        </c:title>
        <c:numFmt formatCode="#,##0" sourceLinked="0"/>
        <c:majorTickMark val="none"/>
        <c:minorTickMark val="none"/>
        <c:tickLblPos val="nextTo"/>
        <c:crossAx val="102999552"/>
        <c:crosses val="autoZero"/>
        <c:crossBetween val="between"/>
        <c:majorUnit val="10"/>
      </c:valAx>
      <c:spPr>
        <a:noFill/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0.49119378827646554"/>
          <c:y val="0.25887540099154271"/>
          <c:w val="0.3655937738944039"/>
          <c:h val="0.19160871630364676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/>
      </a:pPr>
      <a:endParaRPr lang="cs-CZ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428298765414955"/>
          <c:y val="5.4666765421126043E-2"/>
          <c:w val="0.81100572954696448"/>
          <c:h val="0.78278032954214061"/>
        </c:manualLayout>
      </c:layout>
      <c:lineChart>
        <c:grouping val="standard"/>
        <c:varyColors val="0"/>
        <c:ser>
          <c:idx val="0"/>
          <c:order val="0"/>
          <c:tx>
            <c:strRef>
              <c:f>Data!$A$12</c:f>
              <c:strCache>
                <c:ptCount val="1"/>
                <c:pt idx="0">
                  <c:v>Japonsko</c:v>
                </c:pt>
              </c:strCache>
            </c:strRef>
          </c:tx>
          <c:spPr>
            <a:ln w="28575">
              <a:solidFill>
                <a:srgbClr val="C00000"/>
              </a:solidFill>
            </a:ln>
          </c:spPr>
          <c:marker>
            <c:symbol val="none"/>
          </c:marker>
          <c:cat>
            <c:strRef>
              <c:f>Data!$C$10:$AB$10</c:f>
              <c:strCache>
                <c:ptCount val="26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</c:strCache>
            </c:strRef>
          </c:cat>
          <c:val>
            <c:numRef>
              <c:f>Data!$B$44:$AA$44</c:f>
              <c:numCache>
                <c:formatCode>#,##0.0</c:formatCode>
                <c:ptCount val="26"/>
                <c:pt idx="0">
                  <c:v>30.8</c:v>
                </c:pt>
                <c:pt idx="1">
                  <c:v>32</c:v>
                </c:pt>
                <c:pt idx="2">
                  <c:v>32.700000000000003</c:v>
                </c:pt>
                <c:pt idx="3">
                  <c:v>32.4</c:v>
                </c:pt>
                <c:pt idx="4">
                  <c:v>30.7</c:v>
                </c:pt>
                <c:pt idx="5">
                  <c:v>29.4</c:v>
                </c:pt>
                <c:pt idx="6">
                  <c:v>27.8</c:v>
                </c:pt>
                <c:pt idx="7">
                  <c:v>28</c:v>
                </c:pt>
                <c:pt idx="8">
                  <c:v>29</c:v>
                </c:pt>
                <c:pt idx="9">
                  <c:v>28.5</c:v>
                </c:pt>
                <c:pt idx="10">
                  <c:v>27</c:v>
                </c:pt>
                <c:pt idx="11">
                  <c:v>26.1</c:v>
                </c:pt>
                <c:pt idx="12">
                  <c:v>26.4</c:v>
                </c:pt>
                <c:pt idx="13">
                  <c:v>25.8</c:v>
                </c:pt>
                <c:pt idx="14">
                  <c:v>23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ta!$A$11</c:f>
              <c:strCache>
                <c:ptCount val="1"/>
                <c:pt idx="0">
                  <c:v>Eurozóna</c:v>
                </c:pt>
              </c:strCache>
            </c:strRef>
          </c:tx>
          <c:spPr>
            <a:ln w="38100">
              <a:solidFill>
                <a:schemeClr val="accent2"/>
              </a:solidFill>
            </a:ln>
          </c:spPr>
          <c:marker>
            <c:symbol val="none"/>
          </c:marker>
          <c:cat>
            <c:strRef>
              <c:f>Data!$C$10:$AB$10</c:f>
              <c:strCache>
                <c:ptCount val="26"/>
                <c:pt idx="0">
                  <c:v>1988</c:v>
                </c:pt>
                <c:pt idx="1">
                  <c:v>1989</c:v>
                </c:pt>
                <c:pt idx="2">
                  <c:v>1990</c:v>
                </c:pt>
                <c:pt idx="3">
                  <c:v>1991</c:v>
                </c:pt>
                <c:pt idx="4">
                  <c:v>1992</c:v>
                </c:pt>
                <c:pt idx="5">
                  <c:v>1993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8</c:v>
                </c:pt>
                <c:pt idx="11">
                  <c:v>1999</c:v>
                </c:pt>
                <c:pt idx="12">
                  <c:v>2000</c:v>
                </c:pt>
                <c:pt idx="13">
                  <c:v>2001</c:v>
                </c:pt>
                <c:pt idx="14">
                  <c:v>2002</c:v>
                </c:pt>
                <c:pt idx="15">
                  <c:v>2003</c:v>
                </c:pt>
                <c:pt idx="16">
                  <c:v>2004</c:v>
                </c:pt>
                <c:pt idx="17">
                  <c:v>2005</c:v>
                </c:pt>
                <c:pt idx="18">
                  <c:v>2006</c:v>
                </c:pt>
                <c:pt idx="19">
                  <c:v>2007</c:v>
                </c:pt>
                <c:pt idx="20">
                  <c:v>2008</c:v>
                </c:pt>
                <c:pt idx="21">
                  <c:v>2009</c:v>
                </c:pt>
                <c:pt idx="22">
                  <c:v>2010</c:v>
                </c:pt>
                <c:pt idx="23">
                  <c:v>2011</c:v>
                </c:pt>
                <c:pt idx="24">
                  <c:v>2012</c:v>
                </c:pt>
                <c:pt idx="25">
                  <c:v>2013</c:v>
                </c:pt>
              </c:strCache>
            </c:strRef>
          </c:cat>
          <c:val>
            <c:numRef>
              <c:f>Data!$B$43:$AA$43</c:f>
              <c:numCache>
                <c:formatCode>General</c:formatCode>
                <c:ptCount val="26"/>
                <c:pt idx="7" formatCode="#,##0.0">
                  <c:v>20.8</c:v>
                </c:pt>
                <c:pt idx="8" formatCode="#,##0.0">
                  <c:v>20.100000000000001</c:v>
                </c:pt>
                <c:pt idx="9" formatCode="#,##0.0">
                  <c:v>20.3</c:v>
                </c:pt>
                <c:pt idx="10" formatCode="#,##0.0">
                  <c:v>21</c:v>
                </c:pt>
                <c:pt idx="11" formatCode="#,##0.0">
                  <c:v>21.4</c:v>
                </c:pt>
                <c:pt idx="12" formatCode="#,##0.0">
                  <c:v>22.1</c:v>
                </c:pt>
                <c:pt idx="13" formatCode="#,##0.0">
                  <c:v>21.3</c:v>
                </c:pt>
                <c:pt idx="14" formatCode="#,##0.0">
                  <c:v>20.2</c:v>
                </c:pt>
                <c:pt idx="15" formatCode="#,##0.0">
                  <c:v>20.2</c:v>
                </c:pt>
                <c:pt idx="16" formatCode="#,##0.0">
                  <c:v>20.5</c:v>
                </c:pt>
                <c:pt idx="17" formatCode="#,##0.0">
                  <c:v>20.8</c:v>
                </c:pt>
                <c:pt idx="18" formatCode="#,##0.0">
                  <c:v>21.8</c:v>
                </c:pt>
                <c:pt idx="19" formatCode="#,##0.0">
                  <c:v>22.6</c:v>
                </c:pt>
                <c:pt idx="20" formatCode="#,##0.0">
                  <c:v>22.1</c:v>
                </c:pt>
                <c:pt idx="21" formatCode="#,##0.0">
                  <c:v>18.8</c:v>
                </c:pt>
                <c:pt idx="22" formatCode="#,##0.0">
                  <c:v>19.2</c:v>
                </c:pt>
                <c:pt idx="23" formatCode="#,##0.0">
                  <c:v>19.600000000000001</c:v>
                </c:pt>
                <c:pt idx="24" formatCode="#,##0.0">
                  <c:v>18.399999999999999</c:v>
                </c:pt>
                <c:pt idx="25" formatCode="#,##0.0">
                  <c:v>17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821696"/>
        <c:axId val="103823232"/>
      </c:lineChart>
      <c:catAx>
        <c:axId val="103821696"/>
        <c:scaling>
          <c:orientation val="minMax"/>
        </c:scaling>
        <c:delete val="0"/>
        <c:axPos val="b"/>
        <c:numFmt formatCode="#,##0.00" sourceLinked="0"/>
        <c:majorTickMark val="none"/>
        <c:minorTickMark val="none"/>
        <c:tickLblPos val="nextTo"/>
        <c:crossAx val="103823232"/>
        <c:crosses val="autoZero"/>
        <c:auto val="1"/>
        <c:lblAlgn val="ctr"/>
        <c:lblOffset val="100"/>
        <c:tickMarkSkip val="5"/>
        <c:noMultiLvlLbl val="0"/>
      </c:catAx>
      <c:valAx>
        <c:axId val="103823232"/>
        <c:scaling>
          <c:orientation val="minMax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 smtClean="0"/>
                  <a:t>v </a:t>
                </a:r>
                <a:r>
                  <a:rPr lang="cs-CZ" dirty="0"/>
                  <a:t>% HDP</a:t>
                </a:r>
                <a:endParaRPr lang="en-US" dirty="0"/>
              </a:p>
            </c:rich>
          </c:tx>
          <c:overlay val="0"/>
        </c:title>
        <c:numFmt formatCode="#,##0" sourceLinked="0"/>
        <c:majorTickMark val="none"/>
        <c:minorTickMark val="none"/>
        <c:tickLblPos val="nextTo"/>
        <c:crossAx val="103821696"/>
        <c:crosses val="autoZero"/>
        <c:crossBetween val="between"/>
        <c:majorUnit val="10"/>
      </c:valAx>
      <c:spPr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0.63680142310576604"/>
          <c:y val="0.16528281836997535"/>
          <c:w val="0.3277229179396734"/>
          <c:h val="0.18984762321376492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/>
      </a:pPr>
      <a:endParaRPr lang="cs-CZ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951711086006946"/>
          <c:y val="4.0169325915354132E-2"/>
          <c:w val="0.74816123291031467"/>
          <c:h val="0.86553105210532166"/>
        </c:manualLayout>
      </c:layout>
      <c:lineChart>
        <c:grouping val="standar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Japonsko</c:v>
                </c:pt>
              </c:strCache>
            </c:strRef>
          </c:tx>
          <c:spPr>
            <a:ln w="381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A$3:$A$168</c:f>
              <c:numCache>
                <c:formatCode>m/d/yyyy</c:formatCode>
                <c:ptCount val="166"/>
                <c:pt idx="0">
                  <c:v>36830</c:v>
                </c:pt>
                <c:pt idx="1">
                  <c:v>36860</c:v>
                </c:pt>
                <c:pt idx="2">
                  <c:v>36891</c:v>
                </c:pt>
                <c:pt idx="3">
                  <c:v>36922</c:v>
                </c:pt>
                <c:pt idx="4">
                  <c:v>36950</c:v>
                </c:pt>
                <c:pt idx="5">
                  <c:v>36981</c:v>
                </c:pt>
                <c:pt idx="6">
                  <c:v>37011</c:v>
                </c:pt>
                <c:pt idx="7">
                  <c:v>37042</c:v>
                </c:pt>
                <c:pt idx="8">
                  <c:v>37072</c:v>
                </c:pt>
                <c:pt idx="9">
                  <c:v>37103</c:v>
                </c:pt>
                <c:pt idx="10">
                  <c:v>37134</c:v>
                </c:pt>
                <c:pt idx="11">
                  <c:v>37164</c:v>
                </c:pt>
                <c:pt idx="12">
                  <c:v>37195</c:v>
                </c:pt>
                <c:pt idx="13">
                  <c:v>37225</c:v>
                </c:pt>
                <c:pt idx="14">
                  <c:v>37256</c:v>
                </c:pt>
                <c:pt idx="15">
                  <c:v>37287</c:v>
                </c:pt>
                <c:pt idx="16">
                  <c:v>37315</c:v>
                </c:pt>
                <c:pt idx="17">
                  <c:v>37346</c:v>
                </c:pt>
                <c:pt idx="18">
                  <c:v>37376</c:v>
                </c:pt>
                <c:pt idx="19">
                  <c:v>37407</c:v>
                </c:pt>
                <c:pt idx="20">
                  <c:v>37437</c:v>
                </c:pt>
                <c:pt idx="21">
                  <c:v>37468</c:v>
                </c:pt>
                <c:pt idx="22">
                  <c:v>37499</c:v>
                </c:pt>
                <c:pt idx="23">
                  <c:v>37529</c:v>
                </c:pt>
                <c:pt idx="24">
                  <c:v>37560</c:v>
                </c:pt>
                <c:pt idx="25">
                  <c:v>37590</c:v>
                </c:pt>
                <c:pt idx="26">
                  <c:v>37621</c:v>
                </c:pt>
                <c:pt idx="27">
                  <c:v>37652</c:v>
                </c:pt>
                <c:pt idx="28">
                  <c:v>37680</c:v>
                </c:pt>
                <c:pt idx="29">
                  <c:v>37711</c:v>
                </c:pt>
                <c:pt idx="30">
                  <c:v>37741</c:v>
                </c:pt>
                <c:pt idx="31">
                  <c:v>37772</c:v>
                </c:pt>
                <c:pt idx="32">
                  <c:v>37802</c:v>
                </c:pt>
                <c:pt idx="33">
                  <c:v>37833</c:v>
                </c:pt>
                <c:pt idx="34">
                  <c:v>37864</c:v>
                </c:pt>
                <c:pt idx="35">
                  <c:v>37894</c:v>
                </c:pt>
                <c:pt idx="36">
                  <c:v>37925</c:v>
                </c:pt>
                <c:pt idx="37">
                  <c:v>37955</c:v>
                </c:pt>
                <c:pt idx="38">
                  <c:v>37986</c:v>
                </c:pt>
                <c:pt idx="39">
                  <c:v>38017</c:v>
                </c:pt>
                <c:pt idx="40">
                  <c:v>38046</c:v>
                </c:pt>
                <c:pt idx="41">
                  <c:v>38077</c:v>
                </c:pt>
                <c:pt idx="42">
                  <c:v>38107</c:v>
                </c:pt>
                <c:pt idx="43">
                  <c:v>38138</c:v>
                </c:pt>
                <c:pt idx="44">
                  <c:v>38168</c:v>
                </c:pt>
                <c:pt idx="45">
                  <c:v>38199</c:v>
                </c:pt>
                <c:pt idx="46">
                  <c:v>38230</c:v>
                </c:pt>
                <c:pt idx="47">
                  <c:v>38260</c:v>
                </c:pt>
                <c:pt idx="48">
                  <c:v>38291</c:v>
                </c:pt>
                <c:pt idx="49">
                  <c:v>38321</c:v>
                </c:pt>
                <c:pt idx="50">
                  <c:v>38352</c:v>
                </c:pt>
                <c:pt idx="51">
                  <c:v>38383</c:v>
                </c:pt>
                <c:pt idx="52">
                  <c:v>38411</c:v>
                </c:pt>
                <c:pt idx="53">
                  <c:v>38442</c:v>
                </c:pt>
                <c:pt idx="54">
                  <c:v>38472</c:v>
                </c:pt>
                <c:pt idx="55">
                  <c:v>38503</c:v>
                </c:pt>
                <c:pt idx="56">
                  <c:v>38533</c:v>
                </c:pt>
                <c:pt idx="57">
                  <c:v>38564</c:v>
                </c:pt>
                <c:pt idx="58">
                  <c:v>38595</c:v>
                </c:pt>
                <c:pt idx="59">
                  <c:v>38625</c:v>
                </c:pt>
                <c:pt idx="60">
                  <c:v>38656</c:v>
                </c:pt>
                <c:pt idx="61">
                  <c:v>38686</c:v>
                </c:pt>
                <c:pt idx="62">
                  <c:v>38717</c:v>
                </c:pt>
                <c:pt idx="63">
                  <c:v>38748</c:v>
                </c:pt>
                <c:pt idx="64">
                  <c:v>38776</c:v>
                </c:pt>
                <c:pt idx="65">
                  <c:v>38807</c:v>
                </c:pt>
                <c:pt idx="66">
                  <c:v>38837</c:v>
                </c:pt>
                <c:pt idx="67">
                  <c:v>38868</c:v>
                </c:pt>
                <c:pt idx="68">
                  <c:v>38898</c:v>
                </c:pt>
                <c:pt idx="69">
                  <c:v>38929</c:v>
                </c:pt>
                <c:pt idx="70">
                  <c:v>38960</c:v>
                </c:pt>
                <c:pt idx="71">
                  <c:v>38990</c:v>
                </c:pt>
                <c:pt idx="72">
                  <c:v>39021</c:v>
                </c:pt>
                <c:pt idx="73">
                  <c:v>39051</c:v>
                </c:pt>
                <c:pt idx="74">
                  <c:v>39082</c:v>
                </c:pt>
                <c:pt idx="75">
                  <c:v>39113</c:v>
                </c:pt>
                <c:pt idx="76">
                  <c:v>39141</c:v>
                </c:pt>
                <c:pt idx="77">
                  <c:v>39172</c:v>
                </c:pt>
                <c:pt idx="78">
                  <c:v>39202</c:v>
                </c:pt>
                <c:pt idx="79">
                  <c:v>39233</c:v>
                </c:pt>
                <c:pt idx="80">
                  <c:v>39263</c:v>
                </c:pt>
                <c:pt idx="81">
                  <c:v>39294</c:v>
                </c:pt>
                <c:pt idx="82">
                  <c:v>39325</c:v>
                </c:pt>
                <c:pt idx="83">
                  <c:v>39355</c:v>
                </c:pt>
                <c:pt idx="84">
                  <c:v>39386</c:v>
                </c:pt>
                <c:pt idx="85">
                  <c:v>39416</c:v>
                </c:pt>
                <c:pt idx="86">
                  <c:v>39447</c:v>
                </c:pt>
                <c:pt idx="87">
                  <c:v>39478</c:v>
                </c:pt>
                <c:pt idx="88">
                  <c:v>39507</c:v>
                </c:pt>
                <c:pt idx="89">
                  <c:v>39538</c:v>
                </c:pt>
                <c:pt idx="90">
                  <c:v>39568</c:v>
                </c:pt>
                <c:pt idx="91">
                  <c:v>39599</c:v>
                </c:pt>
                <c:pt idx="92">
                  <c:v>39629</c:v>
                </c:pt>
                <c:pt idx="93">
                  <c:v>39660</c:v>
                </c:pt>
                <c:pt idx="94">
                  <c:v>39691</c:v>
                </c:pt>
                <c:pt idx="95">
                  <c:v>39721</c:v>
                </c:pt>
                <c:pt idx="96">
                  <c:v>39752</c:v>
                </c:pt>
                <c:pt idx="97">
                  <c:v>39782</c:v>
                </c:pt>
                <c:pt idx="98">
                  <c:v>39813</c:v>
                </c:pt>
                <c:pt idx="99">
                  <c:v>39844</c:v>
                </c:pt>
                <c:pt idx="100">
                  <c:v>39872</c:v>
                </c:pt>
                <c:pt idx="101">
                  <c:v>39903</c:v>
                </c:pt>
                <c:pt idx="102">
                  <c:v>39933</c:v>
                </c:pt>
                <c:pt idx="103">
                  <c:v>39964</c:v>
                </c:pt>
                <c:pt idx="104">
                  <c:v>39994</c:v>
                </c:pt>
                <c:pt idx="105">
                  <c:v>40025</c:v>
                </c:pt>
                <c:pt idx="106">
                  <c:v>40056</c:v>
                </c:pt>
                <c:pt idx="107">
                  <c:v>40086</c:v>
                </c:pt>
                <c:pt idx="108">
                  <c:v>40117</c:v>
                </c:pt>
                <c:pt idx="109">
                  <c:v>40147</c:v>
                </c:pt>
                <c:pt idx="110">
                  <c:v>40178</c:v>
                </c:pt>
                <c:pt idx="111">
                  <c:v>40209</c:v>
                </c:pt>
                <c:pt idx="112">
                  <c:v>40237</c:v>
                </c:pt>
                <c:pt idx="113">
                  <c:v>40268</c:v>
                </c:pt>
                <c:pt idx="114">
                  <c:v>40298</c:v>
                </c:pt>
                <c:pt idx="115">
                  <c:v>40329</c:v>
                </c:pt>
                <c:pt idx="116">
                  <c:v>40359</c:v>
                </c:pt>
                <c:pt idx="117">
                  <c:v>40390</c:v>
                </c:pt>
                <c:pt idx="118">
                  <c:v>40421</c:v>
                </c:pt>
                <c:pt idx="119">
                  <c:v>40451</c:v>
                </c:pt>
                <c:pt idx="120">
                  <c:v>40482</c:v>
                </c:pt>
                <c:pt idx="121">
                  <c:v>40512</c:v>
                </c:pt>
                <c:pt idx="122">
                  <c:v>40543</c:v>
                </c:pt>
                <c:pt idx="123">
                  <c:v>40574</c:v>
                </c:pt>
                <c:pt idx="124">
                  <c:v>40602</c:v>
                </c:pt>
                <c:pt idx="125">
                  <c:v>40633</c:v>
                </c:pt>
                <c:pt idx="126">
                  <c:v>40663</c:v>
                </c:pt>
                <c:pt idx="127">
                  <c:v>40694</c:v>
                </c:pt>
                <c:pt idx="128">
                  <c:v>40724</c:v>
                </c:pt>
                <c:pt idx="129">
                  <c:v>40755</c:v>
                </c:pt>
                <c:pt idx="130">
                  <c:v>40786</c:v>
                </c:pt>
                <c:pt idx="131">
                  <c:v>40816</c:v>
                </c:pt>
                <c:pt idx="132">
                  <c:v>40847</c:v>
                </c:pt>
                <c:pt idx="133">
                  <c:v>40877</c:v>
                </c:pt>
                <c:pt idx="134">
                  <c:v>40908</c:v>
                </c:pt>
                <c:pt idx="135">
                  <c:v>40939</c:v>
                </c:pt>
                <c:pt idx="136">
                  <c:v>40968</c:v>
                </c:pt>
                <c:pt idx="137">
                  <c:v>40999</c:v>
                </c:pt>
                <c:pt idx="138">
                  <c:v>41029</c:v>
                </c:pt>
                <c:pt idx="139">
                  <c:v>41060</c:v>
                </c:pt>
                <c:pt idx="140">
                  <c:v>41090</c:v>
                </c:pt>
                <c:pt idx="141">
                  <c:v>41121</c:v>
                </c:pt>
                <c:pt idx="142">
                  <c:v>41152</c:v>
                </c:pt>
                <c:pt idx="143">
                  <c:v>41182</c:v>
                </c:pt>
                <c:pt idx="144">
                  <c:v>41213</c:v>
                </c:pt>
                <c:pt idx="145">
                  <c:v>41243</c:v>
                </c:pt>
                <c:pt idx="146">
                  <c:v>41274</c:v>
                </c:pt>
                <c:pt idx="147">
                  <c:v>41305</c:v>
                </c:pt>
                <c:pt idx="148">
                  <c:v>41333</c:v>
                </c:pt>
                <c:pt idx="149">
                  <c:v>41364</c:v>
                </c:pt>
                <c:pt idx="150">
                  <c:v>41394</c:v>
                </c:pt>
                <c:pt idx="151">
                  <c:v>41425</c:v>
                </c:pt>
                <c:pt idx="152">
                  <c:v>41455</c:v>
                </c:pt>
                <c:pt idx="153">
                  <c:v>41486</c:v>
                </c:pt>
                <c:pt idx="154">
                  <c:v>41517</c:v>
                </c:pt>
                <c:pt idx="155">
                  <c:v>41547</c:v>
                </c:pt>
                <c:pt idx="156">
                  <c:v>41578</c:v>
                </c:pt>
                <c:pt idx="157">
                  <c:v>41608</c:v>
                </c:pt>
                <c:pt idx="158">
                  <c:v>41639</c:v>
                </c:pt>
                <c:pt idx="159">
                  <c:v>41670</c:v>
                </c:pt>
                <c:pt idx="160">
                  <c:v>41698</c:v>
                </c:pt>
                <c:pt idx="161">
                  <c:v>41729</c:v>
                </c:pt>
                <c:pt idx="162">
                  <c:v>41759</c:v>
                </c:pt>
                <c:pt idx="163">
                  <c:v>41790</c:v>
                </c:pt>
                <c:pt idx="164">
                  <c:v>41820</c:v>
                </c:pt>
                <c:pt idx="165">
                  <c:v>41851</c:v>
                </c:pt>
              </c:numCache>
            </c:numRef>
          </c:cat>
          <c:val>
            <c:numRef>
              <c:f>Sheet1!$B$3:$B$168</c:f>
              <c:numCache>
                <c:formatCode>General</c:formatCode>
                <c:ptCount val="166"/>
                <c:pt idx="0">
                  <c:v>526.1</c:v>
                </c:pt>
                <c:pt idx="1">
                  <c:v>524.29999999999995</c:v>
                </c:pt>
                <c:pt idx="2">
                  <c:v>527.9</c:v>
                </c:pt>
                <c:pt idx="3">
                  <c:v>527.5</c:v>
                </c:pt>
                <c:pt idx="4">
                  <c:v>524.5</c:v>
                </c:pt>
                <c:pt idx="5">
                  <c:v>524.9</c:v>
                </c:pt>
                <c:pt idx="6">
                  <c:v>517.5</c:v>
                </c:pt>
                <c:pt idx="7">
                  <c:v>511.2</c:v>
                </c:pt>
                <c:pt idx="8">
                  <c:v>508.2</c:v>
                </c:pt>
                <c:pt idx="9">
                  <c:v>507.9</c:v>
                </c:pt>
                <c:pt idx="10">
                  <c:v>506.4</c:v>
                </c:pt>
                <c:pt idx="11">
                  <c:v>507.1</c:v>
                </c:pt>
                <c:pt idx="12">
                  <c:v>504.2</c:v>
                </c:pt>
                <c:pt idx="13">
                  <c:v>501.9</c:v>
                </c:pt>
                <c:pt idx="14">
                  <c:v>505.4</c:v>
                </c:pt>
                <c:pt idx="15">
                  <c:v>504.1</c:v>
                </c:pt>
                <c:pt idx="16">
                  <c:v>500.8</c:v>
                </c:pt>
                <c:pt idx="17">
                  <c:v>501</c:v>
                </c:pt>
                <c:pt idx="18">
                  <c:v>492.9</c:v>
                </c:pt>
                <c:pt idx="19">
                  <c:v>487.9</c:v>
                </c:pt>
                <c:pt idx="20">
                  <c:v>485.6</c:v>
                </c:pt>
                <c:pt idx="21">
                  <c:v>484.8</c:v>
                </c:pt>
                <c:pt idx="22">
                  <c:v>483.9</c:v>
                </c:pt>
                <c:pt idx="23">
                  <c:v>483.1</c:v>
                </c:pt>
                <c:pt idx="24">
                  <c:v>479.1</c:v>
                </c:pt>
                <c:pt idx="25">
                  <c:v>479</c:v>
                </c:pt>
                <c:pt idx="26">
                  <c:v>482.4</c:v>
                </c:pt>
                <c:pt idx="27">
                  <c:v>481.1</c:v>
                </c:pt>
                <c:pt idx="28">
                  <c:v>478.2</c:v>
                </c:pt>
                <c:pt idx="29">
                  <c:v>479.7</c:v>
                </c:pt>
                <c:pt idx="30">
                  <c:v>471.6</c:v>
                </c:pt>
                <c:pt idx="31">
                  <c:v>467</c:v>
                </c:pt>
                <c:pt idx="32">
                  <c:v>465</c:v>
                </c:pt>
                <c:pt idx="33">
                  <c:v>463.7</c:v>
                </c:pt>
                <c:pt idx="34">
                  <c:v>461</c:v>
                </c:pt>
                <c:pt idx="35">
                  <c:v>461.6</c:v>
                </c:pt>
                <c:pt idx="36">
                  <c:v>458.4</c:v>
                </c:pt>
                <c:pt idx="37">
                  <c:v>457.3</c:v>
                </c:pt>
                <c:pt idx="38">
                  <c:v>460.3</c:v>
                </c:pt>
                <c:pt idx="39">
                  <c:v>459.1</c:v>
                </c:pt>
                <c:pt idx="40">
                  <c:v>457.1</c:v>
                </c:pt>
                <c:pt idx="41">
                  <c:v>459.2</c:v>
                </c:pt>
                <c:pt idx="42">
                  <c:v>452.3</c:v>
                </c:pt>
                <c:pt idx="43">
                  <c:v>449.6</c:v>
                </c:pt>
                <c:pt idx="44">
                  <c:v>447.4</c:v>
                </c:pt>
                <c:pt idx="45">
                  <c:v>447.4</c:v>
                </c:pt>
                <c:pt idx="46">
                  <c:v>447.6</c:v>
                </c:pt>
                <c:pt idx="47">
                  <c:v>448.4</c:v>
                </c:pt>
                <c:pt idx="48">
                  <c:v>445.2</c:v>
                </c:pt>
                <c:pt idx="49">
                  <c:v>443.4</c:v>
                </c:pt>
                <c:pt idx="50">
                  <c:v>447</c:v>
                </c:pt>
                <c:pt idx="51">
                  <c:v>446.2</c:v>
                </c:pt>
                <c:pt idx="52">
                  <c:v>444.3</c:v>
                </c:pt>
                <c:pt idx="53">
                  <c:v>447.1</c:v>
                </c:pt>
                <c:pt idx="54">
                  <c:v>441.4</c:v>
                </c:pt>
                <c:pt idx="55">
                  <c:v>438.6</c:v>
                </c:pt>
                <c:pt idx="56">
                  <c:v>437</c:v>
                </c:pt>
                <c:pt idx="57">
                  <c:v>438.2</c:v>
                </c:pt>
                <c:pt idx="58">
                  <c:v>439.1</c:v>
                </c:pt>
                <c:pt idx="59">
                  <c:v>441.3</c:v>
                </c:pt>
                <c:pt idx="60">
                  <c:v>442.5</c:v>
                </c:pt>
                <c:pt idx="61">
                  <c:v>441.1</c:v>
                </c:pt>
                <c:pt idx="62">
                  <c:v>445.9</c:v>
                </c:pt>
                <c:pt idx="63">
                  <c:v>446.1</c:v>
                </c:pt>
                <c:pt idx="64">
                  <c:v>445.2</c:v>
                </c:pt>
                <c:pt idx="65">
                  <c:v>448.3</c:v>
                </c:pt>
                <c:pt idx="66">
                  <c:v>446.5</c:v>
                </c:pt>
                <c:pt idx="67">
                  <c:v>443.6</c:v>
                </c:pt>
                <c:pt idx="68">
                  <c:v>444.4</c:v>
                </c:pt>
                <c:pt idx="69">
                  <c:v>447</c:v>
                </c:pt>
                <c:pt idx="70">
                  <c:v>447</c:v>
                </c:pt>
                <c:pt idx="71">
                  <c:v>447.9</c:v>
                </c:pt>
                <c:pt idx="72">
                  <c:v>447</c:v>
                </c:pt>
                <c:pt idx="73">
                  <c:v>446</c:v>
                </c:pt>
                <c:pt idx="74">
                  <c:v>453.3</c:v>
                </c:pt>
                <c:pt idx="75">
                  <c:v>453.5</c:v>
                </c:pt>
                <c:pt idx="76">
                  <c:v>450.8</c:v>
                </c:pt>
                <c:pt idx="77">
                  <c:v>452.7</c:v>
                </c:pt>
                <c:pt idx="78">
                  <c:v>450.5</c:v>
                </c:pt>
                <c:pt idx="79">
                  <c:v>447.4</c:v>
                </c:pt>
                <c:pt idx="80">
                  <c:v>447.4</c:v>
                </c:pt>
                <c:pt idx="81">
                  <c:v>448.3</c:v>
                </c:pt>
                <c:pt idx="82">
                  <c:v>449.1</c:v>
                </c:pt>
                <c:pt idx="83">
                  <c:v>450.7</c:v>
                </c:pt>
                <c:pt idx="84">
                  <c:v>450</c:v>
                </c:pt>
                <c:pt idx="85">
                  <c:v>448.5</c:v>
                </c:pt>
                <c:pt idx="86">
                  <c:v>453.8</c:v>
                </c:pt>
                <c:pt idx="87">
                  <c:v>455.5</c:v>
                </c:pt>
                <c:pt idx="88">
                  <c:v>454.3</c:v>
                </c:pt>
                <c:pt idx="89">
                  <c:v>457.5</c:v>
                </c:pt>
                <c:pt idx="90">
                  <c:v>455.8</c:v>
                </c:pt>
                <c:pt idx="91">
                  <c:v>453.9</c:v>
                </c:pt>
                <c:pt idx="92">
                  <c:v>455.2</c:v>
                </c:pt>
                <c:pt idx="93">
                  <c:v>456.5</c:v>
                </c:pt>
                <c:pt idx="94">
                  <c:v>457.3</c:v>
                </c:pt>
                <c:pt idx="95">
                  <c:v>458</c:v>
                </c:pt>
                <c:pt idx="96">
                  <c:v>459.3</c:v>
                </c:pt>
                <c:pt idx="97">
                  <c:v>462.9</c:v>
                </c:pt>
                <c:pt idx="98">
                  <c:v>470.3</c:v>
                </c:pt>
                <c:pt idx="99">
                  <c:v>472</c:v>
                </c:pt>
                <c:pt idx="100">
                  <c:v>470.3</c:v>
                </c:pt>
                <c:pt idx="101">
                  <c:v>473</c:v>
                </c:pt>
                <c:pt idx="102">
                  <c:v>470.8</c:v>
                </c:pt>
                <c:pt idx="103">
                  <c:v>468</c:v>
                </c:pt>
                <c:pt idx="104">
                  <c:v>466.3</c:v>
                </c:pt>
                <c:pt idx="105">
                  <c:v>466</c:v>
                </c:pt>
                <c:pt idx="106">
                  <c:v>465.5</c:v>
                </c:pt>
                <c:pt idx="107">
                  <c:v>465</c:v>
                </c:pt>
                <c:pt idx="108">
                  <c:v>465.9</c:v>
                </c:pt>
                <c:pt idx="109">
                  <c:v>463.6</c:v>
                </c:pt>
                <c:pt idx="110">
                  <c:v>465.5</c:v>
                </c:pt>
                <c:pt idx="111">
                  <c:v>464.9</c:v>
                </c:pt>
                <c:pt idx="112">
                  <c:v>463.2</c:v>
                </c:pt>
                <c:pt idx="113">
                  <c:v>464.2</c:v>
                </c:pt>
                <c:pt idx="114">
                  <c:v>462.4</c:v>
                </c:pt>
                <c:pt idx="115">
                  <c:v>458.6</c:v>
                </c:pt>
                <c:pt idx="116">
                  <c:v>456.9</c:v>
                </c:pt>
                <c:pt idx="117">
                  <c:v>457.5</c:v>
                </c:pt>
                <c:pt idx="118">
                  <c:v>456.6</c:v>
                </c:pt>
                <c:pt idx="119">
                  <c:v>456.7</c:v>
                </c:pt>
                <c:pt idx="120">
                  <c:v>456.8</c:v>
                </c:pt>
                <c:pt idx="121">
                  <c:v>454.4</c:v>
                </c:pt>
                <c:pt idx="122">
                  <c:v>456.5</c:v>
                </c:pt>
                <c:pt idx="123">
                  <c:v>456.6</c:v>
                </c:pt>
                <c:pt idx="124">
                  <c:v>454.7</c:v>
                </c:pt>
                <c:pt idx="125">
                  <c:v>456.3</c:v>
                </c:pt>
                <c:pt idx="126">
                  <c:v>458.2</c:v>
                </c:pt>
                <c:pt idx="127">
                  <c:v>455.2</c:v>
                </c:pt>
                <c:pt idx="128">
                  <c:v>454.2</c:v>
                </c:pt>
                <c:pt idx="129">
                  <c:v>455.1</c:v>
                </c:pt>
                <c:pt idx="130">
                  <c:v>454.5</c:v>
                </c:pt>
                <c:pt idx="131">
                  <c:v>455.4</c:v>
                </c:pt>
                <c:pt idx="132">
                  <c:v>457</c:v>
                </c:pt>
                <c:pt idx="133">
                  <c:v>455.1</c:v>
                </c:pt>
                <c:pt idx="134">
                  <c:v>458.2</c:v>
                </c:pt>
                <c:pt idx="135">
                  <c:v>459.2</c:v>
                </c:pt>
                <c:pt idx="136">
                  <c:v>457.5</c:v>
                </c:pt>
                <c:pt idx="137">
                  <c:v>459.7</c:v>
                </c:pt>
                <c:pt idx="138">
                  <c:v>459.3</c:v>
                </c:pt>
                <c:pt idx="139">
                  <c:v>456.2</c:v>
                </c:pt>
                <c:pt idx="140">
                  <c:v>457</c:v>
                </c:pt>
                <c:pt idx="141">
                  <c:v>458.2</c:v>
                </c:pt>
                <c:pt idx="142">
                  <c:v>458.2</c:v>
                </c:pt>
                <c:pt idx="143">
                  <c:v>459.6</c:v>
                </c:pt>
                <c:pt idx="144">
                  <c:v>460.7</c:v>
                </c:pt>
                <c:pt idx="145">
                  <c:v>459.5</c:v>
                </c:pt>
                <c:pt idx="146">
                  <c:v>463.4</c:v>
                </c:pt>
                <c:pt idx="147">
                  <c:v>465</c:v>
                </c:pt>
                <c:pt idx="148">
                  <c:v>464.2</c:v>
                </c:pt>
                <c:pt idx="149">
                  <c:v>466.7</c:v>
                </c:pt>
                <c:pt idx="150">
                  <c:v>467</c:v>
                </c:pt>
                <c:pt idx="151">
                  <c:v>464.4</c:v>
                </c:pt>
                <c:pt idx="152">
                  <c:v>465.3</c:v>
                </c:pt>
                <c:pt idx="153">
                  <c:v>467.2</c:v>
                </c:pt>
                <c:pt idx="154">
                  <c:v>467.3</c:v>
                </c:pt>
                <c:pt idx="155">
                  <c:v>468.5</c:v>
                </c:pt>
                <c:pt idx="156">
                  <c:v>469.8</c:v>
                </c:pt>
                <c:pt idx="157">
                  <c:v>469.3</c:v>
                </c:pt>
                <c:pt idx="158">
                  <c:v>473.8</c:v>
                </c:pt>
                <c:pt idx="159">
                  <c:v>475.6</c:v>
                </c:pt>
                <c:pt idx="160">
                  <c:v>474.4</c:v>
                </c:pt>
                <c:pt idx="161">
                  <c:v>476.3</c:v>
                </c:pt>
                <c:pt idx="162">
                  <c:v>476.6</c:v>
                </c:pt>
                <c:pt idx="163">
                  <c:v>474.8</c:v>
                </c:pt>
                <c:pt idx="164">
                  <c:v>476.2</c:v>
                </c:pt>
                <c:pt idx="165">
                  <c:v>477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345536"/>
        <c:axId val="103621760"/>
      </c:lineChart>
      <c:lineChart>
        <c:grouping val="standard"/>
        <c:varyColors val="0"/>
        <c:ser>
          <c:idx val="2"/>
          <c:order val="1"/>
          <c:tx>
            <c:strRef>
              <c:f>Sheet1!$G$2</c:f>
              <c:strCache>
                <c:ptCount val="1"/>
                <c:pt idx="0">
                  <c:v>Eurozóna</c:v>
                </c:pt>
              </c:strCache>
            </c:strRef>
          </c:tx>
          <c:spPr>
            <a:ln w="38100"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A$3:$A$168</c:f>
              <c:numCache>
                <c:formatCode>m/d/yyyy</c:formatCode>
                <c:ptCount val="166"/>
                <c:pt idx="0">
                  <c:v>36830</c:v>
                </c:pt>
                <c:pt idx="1">
                  <c:v>36860</c:v>
                </c:pt>
                <c:pt idx="2">
                  <c:v>36891</c:v>
                </c:pt>
                <c:pt idx="3">
                  <c:v>36922</c:v>
                </c:pt>
                <c:pt idx="4">
                  <c:v>36950</c:v>
                </c:pt>
                <c:pt idx="5">
                  <c:v>36981</c:v>
                </c:pt>
                <c:pt idx="6">
                  <c:v>37011</c:v>
                </c:pt>
                <c:pt idx="7">
                  <c:v>37042</c:v>
                </c:pt>
                <c:pt idx="8">
                  <c:v>37072</c:v>
                </c:pt>
                <c:pt idx="9">
                  <c:v>37103</c:v>
                </c:pt>
                <c:pt idx="10">
                  <c:v>37134</c:v>
                </c:pt>
                <c:pt idx="11">
                  <c:v>37164</c:v>
                </c:pt>
                <c:pt idx="12">
                  <c:v>37195</c:v>
                </c:pt>
                <c:pt idx="13">
                  <c:v>37225</c:v>
                </c:pt>
                <c:pt idx="14">
                  <c:v>37256</c:v>
                </c:pt>
                <c:pt idx="15">
                  <c:v>37287</c:v>
                </c:pt>
                <c:pt idx="16">
                  <c:v>37315</c:v>
                </c:pt>
                <c:pt idx="17">
                  <c:v>37346</c:v>
                </c:pt>
                <c:pt idx="18">
                  <c:v>37376</c:v>
                </c:pt>
                <c:pt idx="19">
                  <c:v>37407</c:v>
                </c:pt>
                <c:pt idx="20">
                  <c:v>37437</c:v>
                </c:pt>
                <c:pt idx="21">
                  <c:v>37468</c:v>
                </c:pt>
                <c:pt idx="22">
                  <c:v>37499</c:v>
                </c:pt>
                <c:pt idx="23">
                  <c:v>37529</c:v>
                </c:pt>
                <c:pt idx="24">
                  <c:v>37560</c:v>
                </c:pt>
                <c:pt idx="25">
                  <c:v>37590</c:v>
                </c:pt>
                <c:pt idx="26">
                  <c:v>37621</c:v>
                </c:pt>
                <c:pt idx="27">
                  <c:v>37652</c:v>
                </c:pt>
                <c:pt idx="28">
                  <c:v>37680</c:v>
                </c:pt>
                <c:pt idx="29">
                  <c:v>37711</c:v>
                </c:pt>
                <c:pt idx="30">
                  <c:v>37741</c:v>
                </c:pt>
                <c:pt idx="31">
                  <c:v>37772</c:v>
                </c:pt>
                <c:pt idx="32">
                  <c:v>37802</c:v>
                </c:pt>
                <c:pt idx="33">
                  <c:v>37833</c:v>
                </c:pt>
                <c:pt idx="34">
                  <c:v>37864</c:v>
                </c:pt>
                <c:pt idx="35">
                  <c:v>37894</c:v>
                </c:pt>
                <c:pt idx="36">
                  <c:v>37925</c:v>
                </c:pt>
                <c:pt idx="37">
                  <c:v>37955</c:v>
                </c:pt>
                <c:pt idx="38">
                  <c:v>37986</c:v>
                </c:pt>
                <c:pt idx="39">
                  <c:v>38017</c:v>
                </c:pt>
                <c:pt idx="40">
                  <c:v>38046</c:v>
                </c:pt>
                <c:pt idx="41">
                  <c:v>38077</c:v>
                </c:pt>
                <c:pt idx="42">
                  <c:v>38107</c:v>
                </c:pt>
                <c:pt idx="43">
                  <c:v>38138</c:v>
                </c:pt>
                <c:pt idx="44">
                  <c:v>38168</c:v>
                </c:pt>
                <c:pt idx="45">
                  <c:v>38199</c:v>
                </c:pt>
                <c:pt idx="46">
                  <c:v>38230</c:v>
                </c:pt>
                <c:pt idx="47">
                  <c:v>38260</c:v>
                </c:pt>
                <c:pt idx="48">
                  <c:v>38291</c:v>
                </c:pt>
                <c:pt idx="49">
                  <c:v>38321</c:v>
                </c:pt>
                <c:pt idx="50">
                  <c:v>38352</c:v>
                </c:pt>
                <c:pt idx="51">
                  <c:v>38383</c:v>
                </c:pt>
                <c:pt idx="52">
                  <c:v>38411</c:v>
                </c:pt>
                <c:pt idx="53">
                  <c:v>38442</c:v>
                </c:pt>
                <c:pt idx="54">
                  <c:v>38472</c:v>
                </c:pt>
                <c:pt idx="55">
                  <c:v>38503</c:v>
                </c:pt>
                <c:pt idx="56">
                  <c:v>38533</c:v>
                </c:pt>
                <c:pt idx="57">
                  <c:v>38564</c:v>
                </c:pt>
                <c:pt idx="58">
                  <c:v>38595</c:v>
                </c:pt>
                <c:pt idx="59">
                  <c:v>38625</c:v>
                </c:pt>
                <c:pt idx="60">
                  <c:v>38656</c:v>
                </c:pt>
                <c:pt idx="61">
                  <c:v>38686</c:v>
                </c:pt>
                <c:pt idx="62">
                  <c:v>38717</c:v>
                </c:pt>
                <c:pt idx="63">
                  <c:v>38748</c:v>
                </c:pt>
                <c:pt idx="64">
                  <c:v>38776</c:v>
                </c:pt>
                <c:pt idx="65">
                  <c:v>38807</c:v>
                </c:pt>
                <c:pt idx="66">
                  <c:v>38837</c:v>
                </c:pt>
                <c:pt idx="67">
                  <c:v>38868</c:v>
                </c:pt>
                <c:pt idx="68">
                  <c:v>38898</c:v>
                </c:pt>
                <c:pt idx="69">
                  <c:v>38929</c:v>
                </c:pt>
                <c:pt idx="70">
                  <c:v>38960</c:v>
                </c:pt>
                <c:pt idx="71">
                  <c:v>38990</c:v>
                </c:pt>
                <c:pt idx="72">
                  <c:v>39021</c:v>
                </c:pt>
                <c:pt idx="73">
                  <c:v>39051</c:v>
                </c:pt>
                <c:pt idx="74">
                  <c:v>39082</c:v>
                </c:pt>
                <c:pt idx="75">
                  <c:v>39113</c:v>
                </c:pt>
                <c:pt idx="76">
                  <c:v>39141</c:v>
                </c:pt>
                <c:pt idx="77">
                  <c:v>39172</c:v>
                </c:pt>
                <c:pt idx="78">
                  <c:v>39202</c:v>
                </c:pt>
                <c:pt idx="79">
                  <c:v>39233</c:v>
                </c:pt>
                <c:pt idx="80">
                  <c:v>39263</c:v>
                </c:pt>
                <c:pt idx="81">
                  <c:v>39294</c:v>
                </c:pt>
                <c:pt idx="82">
                  <c:v>39325</c:v>
                </c:pt>
                <c:pt idx="83">
                  <c:v>39355</c:v>
                </c:pt>
                <c:pt idx="84">
                  <c:v>39386</c:v>
                </c:pt>
                <c:pt idx="85">
                  <c:v>39416</c:v>
                </c:pt>
                <c:pt idx="86">
                  <c:v>39447</c:v>
                </c:pt>
                <c:pt idx="87">
                  <c:v>39478</c:v>
                </c:pt>
                <c:pt idx="88">
                  <c:v>39507</c:v>
                </c:pt>
                <c:pt idx="89">
                  <c:v>39538</c:v>
                </c:pt>
                <c:pt idx="90">
                  <c:v>39568</c:v>
                </c:pt>
                <c:pt idx="91">
                  <c:v>39599</c:v>
                </c:pt>
                <c:pt idx="92">
                  <c:v>39629</c:v>
                </c:pt>
                <c:pt idx="93">
                  <c:v>39660</c:v>
                </c:pt>
                <c:pt idx="94">
                  <c:v>39691</c:v>
                </c:pt>
                <c:pt idx="95">
                  <c:v>39721</c:v>
                </c:pt>
                <c:pt idx="96">
                  <c:v>39752</c:v>
                </c:pt>
                <c:pt idx="97">
                  <c:v>39782</c:v>
                </c:pt>
                <c:pt idx="98">
                  <c:v>39813</c:v>
                </c:pt>
                <c:pt idx="99">
                  <c:v>39844</c:v>
                </c:pt>
                <c:pt idx="100">
                  <c:v>39872</c:v>
                </c:pt>
                <c:pt idx="101">
                  <c:v>39903</c:v>
                </c:pt>
                <c:pt idx="102">
                  <c:v>39933</c:v>
                </c:pt>
                <c:pt idx="103">
                  <c:v>39964</c:v>
                </c:pt>
                <c:pt idx="104">
                  <c:v>39994</c:v>
                </c:pt>
                <c:pt idx="105">
                  <c:v>40025</c:v>
                </c:pt>
                <c:pt idx="106">
                  <c:v>40056</c:v>
                </c:pt>
                <c:pt idx="107">
                  <c:v>40086</c:v>
                </c:pt>
                <c:pt idx="108">
                  <c:v>40117</c:v>
                </c:pt>
                <c:pt idx="109">
                  <c:v>40147</c:v>
                </c:pt>
                <c:pt idx="110">
                  <c:v>40178</c:v>
                </c:pt>
                <c:pt idx="111">
                  <c:v>40209</c:v>
                </c:pt>
                <c:pt idx="112">
                  <c:v>40237</c:v>
                </c:pt>
                <c:pt idx="113">
                  <c:v>40268</c:v>
                </c:pt>
                <c:pt idx="114">
                  <c:v>40298</c:v>
                </c:pt>
                <c:pt idx="115">
                  <c:v>40329</c:v>
                </c:pt>
                <c:pt idx="116">
                  <c:v>40359</c:v>
                </c:pt>
                <c:pt idx="117">
                  <c:v>40390</c:v>
                </c:pt>
                <c:pt idx="118">
                  <c:v>40421</c:v>
                </c:pt>
                <c:pt idx="119">
                  <c:v>40451</c:v>
                </c:pt>
                <c:pt idx="120">
                  <c:v>40482</c:v>
                </c:pt>
                <c:pt idx="121">
                  <c:v>40512</c:v>
                </c:pt>
                <c:pt idx="122">
                  <c:v>40543</c:v>
                </c:pt>
                <c:pt idx="123">
                  <c:v>40574</c:v>
                </c:pt>
                <c:pt idx="124">
                  <c:v>40602</c:v>
                </c:pt>
                <c:pt idx="125">
                  <c:v>40633</c:v>
                </c:pt>
                <c:pt idx="126">
                  <c:v>40663</c:v>
                </c:pt>
                <c:pt idx="127">
                  <c:v>40694</c:v>
                </c:pt>
                <c:pt idx="128">
                  <c:v>40724</c:v>
                </c:pt>
                <c:pt idx="129">
                  <c:v>40755</c:v>
                </c:pt>
                <c:pt idx="130">
                  <c:v>40786</c:v>
                </c:pt>
                <c:pt idx="131">
                  <c:v>40816</c:v>
                </c:pt>
                <c:pt idx="132">
                  <c:v>40847</c:v>
                </c:pt>
                <c:pt idx="133">
                  <c:v>40877</c:v>
                </c:pt>
                <c:pt idx="134">
                  <c:v>40908</c:v>
                </c:pt>
                <c:pt idx="135">
                  <c:v>40939</c:v>
                </c:pt>
                <c:pt idx="136">
                  <c:v>40968</c:v>
                </c:pt>
                <c:pt idx="137">
                  <c:v>40999</c:v>
                </c:pt>
                <c:pt idx="138">
                  <c:v>41029</c:v>
                </c:pt>
                <c:pt idx="139">
                  <c:v>41060</c:v>
                </c:pt>
                <c:pt idx="140">
                  <c:v>41090</c:v>
                </c:pt>
                <c:pt idx="141">
                  <c:v>41121</c:v>
                </c:pt>
                <c:pt idx="142">
                  <c:v>41152</c:v>
                </c:pt>
                <c:pt idx="143">
                  <c:v>41182</c:v>
                </c:pt>
                <c:pt idx="144">
                  <c:v>41213</c:v>
                </c:pt>
                <c:pt idx="145">
                  <c:v>41243</c:v>
                </c:pt>
                <c:pt idx="146">
                  <c:v>41274</c:v>
                </c:pt>
                <c:pt idx="147">
                  <c:v>41305</c:v>
                </c:pt>
                <c:pt idx="148">
                  <c:v>41333</c:v>
                </c:pt>
                <c:pt idx="149">
                  <c:v>41364</c:v>
                </c:pt>
                <c:pt idx="150">
                  <c:v>41394</c:v>
                </c:pt>
                <c:pt idx="151">
                  <c:v>41425</c:v>
                </c:pt>
                <c:pt idx="152">
                  <c:v>41455</c:v>
                </c:pt>
                <c:pt idx="153">
                  <c:v>41486</c:v>
                </c:pt>
                <c:pt idx="154">
                  <c:v>41517</c:v>
                </c:pt>
                <c:pt idx="155">
                  <c:v>41547</c:v>
                </c:pt>
                <c:pt idx="156">
                  <c:v>41578</c:v>
                </c:pt>
                <c:pt idx="157">
                  <c:v>41608</c:v>
                </c:pt>
                <c:pt idx="158">
                  <c:v>41639</c:v>
                </c:pt>
                <c:pt idx="159">
                  <c:v>41670</c:v>
                </c:pt>
                <c:pt idx="160">
                  <c:v>41698</c:v>
                </c:pt>
                <c:pt idx="161">
                  <c:v>41729</c:v>
                </c:pt>
                <c:pt idx="162">
                  <c:v>41759</c:v>
                </c:pt>
                <c:pt idx="163">
                  <c:v>41790</c:v>
                </c:pt>
                <c:pt idx="164">
                  <c:v>41820</c:v>
                </c:pt>
                <c:pt idx="165">
                  <c:v>41851</c:v>
                </c:pt>
              </c:numCache>
            </c:numRef>
          </c:cat>
          <c:val>
            <c:numRef>
              <c:f>Sheet1!$G$3:$G$168</c:f>
              <c:numCache>
                <c:formatCode>General</c:formatCode>
                <c:ptCount val="166"/>
                <c:pt idx="0">
                  <c:v>2651.5</c:v>
                </c:pt>
                <c:pt idx="1">
                  <c:v>2678.1</c:v>
                </c:pt>
                <c:pt idx="2">
                  <c:v>2687.5</c:v>
                </c:pt>
                <c:pt idx="3">
                  <c:v>2741.5</c:v>
                </c:pt>
                <c:pt idx="4">
                  <c:v>2752.7</c:v>
                </c:pt>
                <c:pt idx="5">
                  <c:v>2795.8</c:v>
                </c:pt>
                <c:pt idx="6">
                  <c:v>2812</c:v>
                </c:pt>
                <c:pt idx="7">
                  <c:v>2817.4</c:v>
                </c:pt>
                <c:pt idx="8">
                  <c:v>2851.8</c:v>
                </c:pt>
                <c:pt idx="9">
                  <c:v>2851.6</c:v>
                </c:pt>
                <c:pt idx="10">
                  <c:v>2832.4</c:v>
                </c:pt>
                <c:pt idx="11">
                  <c:v>2866.6</c:v>
                </c:pt>
                <c:pt idx="12">
                  <c:v>2869.7</c:v>
                </c:pt>
                <c:pt idx="13">
                  <c:v>2895</c:v>
                </c:pt>
                <c:pt idx="14">
                  <c:v>2903.2</c:v>
                </c:pt>
                <c:pt idx="15">
                  <c:v>2907.1</c:v>
                </c:pt>
                <c:pt idx="16">
                  <c:v>2907.4</c:v>
                </c:pt>
                <c:pt idx="17">
                  <c:v>2932.5</c:v>
                </c:pt>
                <c:pt idx="18">
                  <c:v>2943.9</c:v>
                </c:pt>
                <c:pt idx="19">
                  <c:v>2945</c:v>
                </c:pt>
                <c:pt idx="20">
                  <c:v>2952.5</c:v>
                </c:pt>
                <c:pt idx="21">
                  <c:v>2948.8</c:v>
                </c:pt>
                <c:pt idx="22">
                  <c:v>2935.3</c:v>
                </c:pt>
                <c:pt idx="23">
                  <c:v>2948.8</c:v>
                </c:pt>
                <c:pt idx="24">
                  <c:v>2958</c:v>
                </c:pt>
                <c:pt idx="25">
                  <c:v>2961.1</c:v>
                </c:pt>
                <c:pt idx="26">
                  <c:v>2965.4</c:v>
                </c:pt>
                <c:pt idx="27">
                  <c:v>2973.7</c:v>
                </c:pt>
                <c:pt idx="28">
                  <c:v>2979.7</c:v>
                </c:pt>
                <c:pt idx="29">
                  <c:v>2980.7</c:v>
                </c:pt>
                <c:pt idx="30">
                  <c:v>2989.9</c:v>
                </c:pt>
                <c:pt idx="31">
                  <c:v>2986.5</c:v>
                </c:pt>
                <c:pt idx="32">
                  <c:v>3006.7</c:v>
                </c:pt>
                <c:pt idx="33">
                  <c:v>3004.2</c:v>
                </c:pt>
                <c:pt idx="34">
                  <c:v>3010.8</c:v>
                </c:pt>
                <c:pt idx="35">
                  <c:v>3007.9</c:v>
                </c:pt>
                <c:pt idx="36">
                  <c:v>3011.3</c:v>
                </c:pt>
                <c:pt idx="37">
                  <c:v>3026.5</c:v>
                </c:pt>
                <c:pt idx="38">
                  <c:v>3036.6</c:v>
                </c:pt>
                <c:pt idx="39">
                  <c:v>3042.2</c:v>
                </c:pt>
                <c:pt idx="40">
                  <c:v>3041.7</c:v>
                </c:pt>
                <c:pt idx="41">
                  <c:v>3055.4</c:v>
                </c:pt>
                <c:pt idx="42">
                  <c:v>3076.4</c:v>
                </c:pt>
                <c:pt idx="43">
                  <c:v>3085.2</c:v>
                </c:pt>
                <c:pt idx="44">
                  <c:v>3093.1</c:v>
                </c:pt>
                <c:pt idx="45">
                  <c:v>3102</c:v>
                </c:pt>
                <c:pt idx="46">
                  <c:v>3095.2</c:v>
                </c:pt>
                <c:pt idx="47">
                  <c:v>3104.1</c:v>
                </c:pt>
                <c:pt idx="48">
                  <c:v>3122</c:v>
                </c:pt>
                <c:pt idx="49">
                  <c:v>3140</c:v>
                </c:pt>
                <c:pt idx="50">
                  <c:v>3152.2</c:v>
                </c:pt>
                <c:pt idx="51">
                  <c:v>3169.6</c:v>
                </c:pt>
                <c:pt idx="52">
                  <c:v>3173.1</c:v>
                </c:pt>
                <c:pt idx="53">
                  <c:v>3189.4</c:v>
                </c:pt>
                <c:pt idx="54">
                  <c:v>3215.3</c:v>
                </c:pt>
                <c:pt idx="55">
                  <c:v>3234.3</c:v>
                </c:pt>
                <c:pt idx="56">
                  <c:v>3283.3</c:v>
                </c:pt>
                <c:pt idx="57">
                  <c:v>3309.7</c:v>
                </c:pt>
                <c:pt idx="58">
                  <c:v>3296.1</c:v>
                </c:pt>
                <c:pt idx="59">
                  <c:v>3322.6</c:v>
                </c:pt>
                <c:pt idx="60">
                  <c:v>3344.3</c:v>
                </c:pt>
                <c:pt idx="61">
                  <c:v>3375.3</c:v>
                </c:pt>
                <c:pt idx="62">
                  <c:v>3404.8</c:v>
                </c:pt>
                <c:pt idx="63">
                  <c:v>3439.7</c:v>
                </c:pt>
                <c:pt idx="64">
                  <c:v>3479.1</c:v>
                </c:pt>
                <c:pt idx="65">
                  <c:v>3520.2</c:v>
                </c:pt>
                <c:pt idx="66">
                  <c:v>3562.9</c:v>
                </c:pt>
                <c:pt idx="67">
                  <c:v>3590.8</c:v>
                </c:pt>
                <c:pt idx="68">
                  <c:v>3635.4</c:v>
                </c:pt>
                <c:pt idx="69">
                  <c:v>3680.5</c:v>
                </c:pt>
                <c:pt idx="70">
                  <c:v>3674</c:v>
                </c:pt>
                <c:pt idx="71">
                  <c:v>3726.4</c:v>
                </c:pt>
                <c:pt idx="72">
                  <c:v>3763.6</c:v>
                </c:pt>
                <c:pt idx="73">
                  <c:v>3801.9</c:v>
                </c:pt>
                <c:pt idx="74">
                  <c:v>3839.5</c:v>
                </c:pt>
                <c:pt idx="75">
                  <c:v>3894.6</c:v>
                </c:pt>
                <c:pt idx="76">
                  <c:v>3914.9</c:v>
                </c:pt>
                <c:pt idx="77">
                  <c:v>3951.6</c:v>
                </c:pt>
                <c:pt idx="78">
                  <c:v>3990.5</c:v>
                </c:pt>
                <c:pt idx="79">
                  <c:v>4040</c:v>
                </c:pt>
                <c:pt idx="80">
                  <c:v>4100.3</c:v>
                </c:pt>
                <c:pt idx="81">
                  <c:v>4163.7</c:v>
                </c:pt>
                <c:pt idx="82">
                  <c:v>4181.3999999999996</c:v>
                </c:pt>
                <c:pt idx="83">
                  <c:v>4226.2</c:v>
                </c:pt>
                <c:pt idx="84">
                  <c:v>4267.5</c:v>
                </c:pt>
                <c:pt idx="85">
                  <c:v>4319.8999999999996</c:v>
                </c:pt>
                <c:pt idx="86">
                  <c:v>4389</c:v>
                </c:pt>
                <c:pt idx="87">
                  <c:v>4461.2</c:v>
                </c:pt>
                <c:pt idx="88">
                  <c:v>4498.6000000000004</c:v>
                </c:pt>
                <c:pt idx="89">
                  <c:v>4548.6000000000004</c:v>
                </c:pt>
                <c:pt idx="90">
                  <c:v>4592.5</c:v>
                </c:pt>
                <c:pt idx="91">
                  <c:v>4620.2</c:v>
                </c:pt>
                <c:pt idx="92">
                  <c:v>4672</c:v>
                </c:pt>
                <c:pt idx="93">
                  <c:v>4710.3999999999996</c:v>
                </c:pt>
                <c:pt idx="94">
                  <c:v>4723.3999999999996</c:v>
                </c:pt>
                <c:pt idx="95">
                  <c:v>4762.7</c:v>
                </c:pt>
                <c:pt idx="96">
                  <c:v>4817.3999999999996</c:v>
                </c:pt>
                <c:pt idx="97">
                  <c:v>4843.8</c:v>
                </c:pt>
                <c:pt idx="98">
                  <c:v>4827</c:v>
                </c:pt>
                <c:pt idx="99">
                  <c:v>4877.1000000000004</c:v>
                </c:pt>
                <c:pt idx="100">
                  <c:v>4865</c:v>
                </c:pt>
                <c:pt idx="101">
                  <c:v>4843.8999999999996</c:v>
                </c:pt>
                <c:pt idx="102">
                  <c:v>4846.3999999999996</c:v>
                </c:pt>
                <c:pt idx="103">
                  <c:v>4828.3</c:v>
                </c:pt>
                <c:pt idx="104">
                  <c:v>4805</c:v>
                </c:pt>
                <c:pt idx="105">
                  <c:v>4787.3</c:v>
                </c:pt>
                <c:pt idx="106">
                  <c:v>4755.5</c:v>
                </c:pt>
                <c:pt idx="107">
                  <c:v>4741.3999999999996</c:v>
                </c:pt>
                <c:pt idx="108">
                  <c:v>4722</c:v>
                </c:pt>
                <c:pt idx="109">
                  <c:v>4720.8</c:v>
                </c:pt>
                <c:pt idx="110">
                  <c:v>4691.3</c:v>
                </c:pt>
                <c:pt idx="111">
                  <c:v>4686</c:v>
                </c:pt>
                <c:pt idx="112">
                  <c:v>4689</c:v>
                </c:pt>
                <c:pt idx="113">
                  <c:v>4679.7</c:v>
                </c:pt>
                <c:pt idx="114">
                  <c:v>4666.5</c:v>
                </c:pt>
                <c:pt idx="115">
                  <c:v>4687.3999999999996</c:v>
                </c:pt>
                <c:pt idx="116">
                  <c:v>4697.8999999999996</c:v>
                </c:pt>
                <c:pt idx="117">
                  <c:v>4680.8</c:v>
                </c:pt>
                <c:pt idx="118">
                  <c:v>4670.7</c:v>
                </c:pt>
                <c:pt idx="119">
                  <c:v>4687.5</c:v>
                </c:pt>
                <c:pt idx="120">
                  <c:v>4673.3</c:v>
                </c:pt>
                <c:pt idx="121">
                  <c:v>4695.1000000000004</c:v>
                </c:pt>
                <c:pt idx="122">
                  <c:v>4668.5</c:v>
                </c:pt>
                <c:pt idx="123">
                  <c:v>4698.8999999999996</c:v>
                </c:pt>
                <c:pt idx="124">
                  <c:v>4704.3</c:v>
                </c:pt>
                <c:pt idx="125">
                  <c:v>4705.5</c:v>
                </c:pt>
                <c:pt idx="126">
                  <c:v>4702</c:v>
                </c:pt>
                <c:pt idx="127">
                  <c:v>4719.3</c:v>
                </c:pt>
                <c:pt idx="128">
                  <c:v>4739.2</c:v>
                </c:pt>
                <c:pt idx="129">
                  <c:v>4742.5</c:v>
                </c:pt>
                <c:pt idx="130">
                  <c:v>4723</c:v>
                </c:pt>
                <c:pt idx="131">
                  <c:v>4755.3</c:v>
                </c:pt>
                <c:pt idx="132">
                  <c:v>4751.6000000000004</c:v>
                </c:pt>
                <c:pt idx="133">
                  <c:v>4757.6000000000004</c:v>
                </c:pt>
                <c:pt idx="134">
                  <c:v>4720</c:v>
                </c:pt>
                <c:pt idx="135">
                  <c:v>4722</c:v>
                </c:pt>
                <c:pt idx="136">
                  <c:v>4710.6000000000004</c:v>
                </c:pt>
                <c:pt idx="137">
                  <c:v>4699.3</c:v>
                </c:pt>
                <c:pt idx="138">
                  <c:v>4704.3</c:v>
                </c:pt>
                <c:pt idx="139">
                  <c:v>4705.2</c:v>
                </c:pt>
                <c:pt idx="140">
                  <c:v>4700.5</c:v>
                </c:pt>
                <c:pt idx="141">
                  <c:v>4706.2</c:v>
                </c:pt>
                <c:pt idx="142">
                  <c:v>4671.1000000000004</c:v>
                </c:pt>
                <c:pt idx="143">
                  <c:v>4652.3999999999996</c:v>
                </c:pt>
                <c:pt idx="144">
                  <c:v>4638.5</c:v>
                </c:pt>
                <c:pt idx="145">
                  <c:v>4636.8999999999996</c:v>
                </c:pt>
                <c:pt idx="146">
                  <c:v>4535.8999999999996</c:v>
                </c:pt>
                <c:pt idx="147">
                  <c:v>4523.3999999999996</c:v>
                </c:pt>
                <c:pt idx="148">
                  <c:v>4505.3999999999996</c:v>
                </c:pt>
                <c:pt idx="149">
                  <c:v>4503.1000000000004</c:v>
                </c:pt>
                <c:pt idx="150">
                  <c:v>4478.5</c:v>
                </c:pt>
                <c:pt idx="151">
                  <c:v>4460.8</c:v>
                </c:pt>
                <c:pt idx="152">
                  <c:v>4446.5</c:v>
                </c:pt>
                <c:pt idx="153">
                  <c:v>4429.3999999999996</c:v>
                </c:pt>
                <c:pt idx="154">
                  <c:v>4399.5</c:v>
                </c:pt>
                <c:pt idx="155">
                  <c:v>4393.5</c:v>
                </c:pt>
                <c:pt idx="156">
                  <c:v>4377.1000000000004</c:v>
                </c:pt>
                <c:pt idx="157">
                  <c:v>4371.1000000000004</c:v>
                </c:pt>
                <c:pt idx="158">
                  <c:v>4344.6000000000004</c:v>
                </c:pt>
                <c:pt idx="159">
                  <c:v>4368.8999999999996</c:v>
                </c:pt>
                <c:pt idx="160">
                  <c:v>4344.8</c:v>
                </c:pt>
                <c:pt idx="161">
                  <c:v>4336.3999999999996</c:v>
                </c:pt>
                <c:pt idx="162">
                  <c:v>4328.8999999999996</c:v>
                </c:pt>
                <c:pt idx="163">
                  <c:v>4319</c:v>
                </c:pt>
                <c:pt idx="164">
                  <c:v>4316</c:v>
                </c:pt>
                <c:pt idx="165">
                  <c:v>4304.1000000000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634048"/>
        <c:axId val="103623680"/>
      </c:lineChart>
      <c:dateAx>
        <c:axId val="103345536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crossAx val="103621760"/>
        <c:crosses val="autoZero"/>
        <c:auto val="1"/>
        <c:lblOffset val="100"/>
        <c:baseTimeUnit val="months"/>
        <c:majorUnit val="24"/>
        <c:majorTimeUnit val="months"/>
      </c:dateAx>
      <c:valAx>
        <c:axId val="103621760"/>
        <c:scaling>
          <c:orientation val="minMax"/>
          <c:max val="540"/>
          <c:min val="42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 smtClean="0"/>
                  <a:t>biliony</a:t>
                </a:r>
                <a:r>
                  <a:rPr lang="en-US" dirty="0" smtClean="0"/>
                  <a:t> </a:t>
                </a:r>
                <a:r>
                  <a:rPr lang="en-US" dirty="0"/>
                  <a:t>JPN</a:t>
                </a:r>
              </a:p>
            </c:rich>
          </c:tx>
          <c:layout>
            <c:manualLayout>
              <c:xMode val="edge"/>
              <c:yMode val="edge"/>
              <c:x val="3.2200767571479954E-3"/>
              <c:y val="0.34243453943713859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03345536"/>
        <c:crosses val="autoZero"/>
        <c:crossBetween val="between"/>
      </c:valAx>
      <c:valAx>
        <c:axId val="103623680"/>
        <c:scaling>
          <c:orientation val="minMax"/>
          <c:max val="5000"/>
          <c:min val="20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cs-CZ" dirty="0" smtClean="0"/>
                  <a:t>miliardy</a:t>
                </a:r>
                <a:r>
                  <a:rPr lang="en-US" dirty="0" smtClean="0"/>
                  <a:t> </a:t>
                </a:r>
                <a:r>
                  <a:rPr lang="en-US" dirty="0"/>
                  <a:t>EUR</a:t>
                </a:r>
              </a:p>
            </c:rich>
          </c:tx>
          <c:layout>
            <c:manualLayout>
              <c:xMode val="edge"/>
              <c:yMode val="edge"/>
              <c:x val="0.95498602007184386"/>
              <c:y val="0.3494696159886138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3634048"/>
        <c:crosses val="max"/>
        <c:crossBetween val="between"/>
      </c:valAx>
      <c:dateAx>
        <c:axId val="10363404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03623680"/>
        <c:crosses val="autoZero"/>
        <c:auto val="1"/>
        <c:lblOffset val="100"/>
        <c:baseTimeUnit val="months"/>
      </c:dateAx>
    </c:plotArea>
    <c:legend>
      <c:legendPos val="r"/>
      <c:layout>
        <c:manualLayout>
          <c:xMode val="edge"/>
          <c:yMode val="edge"/>
          <c:x val="0.23646740021185764"/>
          <c:y val="0.22029509613974418"/>
          <c:w val="0.22791683860523435"/>
          <c:h val="0.1737003637022787"/>
        </c:manualLayout>
      </c:layout>
      <c:overlay val="0"/>
      <c:txPr>
        <a:bodyPr/>
        <a:lstStyle/>
        <a:p>
          <a:pPr>
            <a:defRPr sz="2000"/>
          </a:pPr>
          <a:endParaRPr lang="cs-CZ"/>
        </a:p>
      </c:txPr>
    </c:legend>
    <c:plotVisOnly val="1"/>
    <c:dispBlanksAs val="gap"/>
    <c:showDLblsOverMax val="0"/>
  </c:chart>
  <c:spPr>
    <a:solidFill>
      <a:schemeClr val="bg1">
        <a:alpha val="80000"/>
      </a:schemeClr>
    </a:solidFill>
    <a:ln>
      <a:noFill/>
    </a:ln>
  </c:spPr>
  <c:txPr>
    <a:bodyPr/>
    <a:lstStyle/>
    <a:p>
      <a:pPr>
        <a:defRPr sz="16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665548001441571"/>
          <c:y val="3.9671743789985399E-2"/>
          <c:w val="0.45010276635929342"/>
          <c:h val="0.88130130472821333"/>
        </c:manualLayout>
      </c:layout>
      <c:lineChart>
        <c:grouping val="standar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Japonsko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1!$A$3:$A$168</c:f>
              <c:numCache>
                <c:formatCode>m/d/yyyy</c:formatCode>
                <c:ptCount val="166"/>
                <c:pt idx="0">
                  <c:v>36830</c:v>
                </c:pt>
                <c:pt idx="1">
                  <c:v>36860</c:v>
                </c:pt>
                <c:pt idx="2">
                  <c:v>36891</c:v>
                </c:pt>
                <c:pt idx="3">
                  <c:v>36922</c:v>
                </c:pt>
                <c:pt idx="4">
                  <c:v>36950</c:v>
                </c:pt>
                <c:pt idx="5">
                  <c:v>36981</c:v>
                </c:pt>
                <c:pt idx="6">
                  <c:v>37011</c:v>
                </c:pt>
                <c:pt idx="7">
                  <c:v>37042</c:v>
                </c:pt>
                <c:pt idx="8">
                  <c:v>37072</c:v>
                </c:pt>
                <c:pt idx="9">
                  <c:v>37103</c:v>
                </c:pt>
                <c:pt idx="10">
                  <c:v>37134</c:v>
                </c:pt>
                <c:pt idx="11">
                  <c:v>37164</c:v>
                </c:pt>
                <c:pt idx="12">
                  <c:v>37195</c:v>
                </c:pt>
                <c:pt idx="13">
                  <c:v>37225</c:v>
                </c:pt>
                <c:pt idx="14">
                  <c:v>37256</c:v>
                </c:pt>
                <c:pt idx="15">
                  <c:v>37287</c:v>
                </c:pt>
                <c:pt idx="16">
                  <c:v>37315</c:v>
                </c:pt>
                <c:pt idx="17">
                  <c:v>37346</c:v>
                </c:pt>
                <c:pt idx="18">
                  <c:v>37376</c:v>
                </c:pt>
                <c:pt idx="19">
                  <c:v>37407</c:v>
                </c:pt>
                <c:pt idx="20">
                  <c:v>37437</c:v>
                </c:pt>
                <c:pt idx="21">
                  <c:v>37468</c:v>
                </c:pt>
                <c:pt idx="22">
                  <c:v>37499</c:v>
                </c:pt>
                <c:pt idx="23">
                  <c:v>37529</c:v>
                </c:pt>
                <c:pt idx="24">
                  <c:v>37560</c:v>
                </c:pt>
                <c:pt idx="25">
                  <c:v>37590</c:v>
                </c:pt>
                <c:pt idx="26">
                  <c:v>37621</c:v>
                </c:pt>
                <c:pt idx="27">
                  <c:v>37652</c:v>
                </c:pt>
                <c:pt idx="28">
                  <c:v>37680</c:v>
                </c:pt>
                <c:pt idx="29">
                  <c:v>37711</c:v>
                </c:pt>
                <c:pt idx="30">
                  <c:v>37741</c:v>
                </c:pt>
                <c:pt idx="31">
                  <c:v>37772</c:v>
                </c:pt>
                <c:pt idx="32">
                  <c:v>37802</c:v>
                </c:pt>
                <c:pt idx="33">
                  <c:v>37833</c:v>
                </c:pt>
                <c:pt idx="34">
                  <c:v>37864</c:v>
                </c:pt>
                <c:pt idx="35">
                  <c:v>37894</c:v>
                </c:pt>
                <c:pt idx="36">
                  <c:v>37925</c:v>
                </c:pt>
                <c:pt idx="37">
                  <c:v>37955</c:v>
                </c:pt>
                <c:pt idx="38">
                  <c:v>37986</c:v>
                </c:pt>
                <c:pt idx="39">
                  <c:v>38017</c:v>
                </c:pt>
                <c:pt idx="40">
                  <c:v>38046</c:v>
                </c:pt>
                <c:pt idx="41">
                  <c:v>38077</c:v>
                </c:pt>
                <c:pt idx="42">
                  <c:v>38107</c:v>
                </c:pt>
                <c:pt idx="43">
                  <c:v>38138</c:v>
                </c:pt>
                <c:pt idx="44">
                  <c:v>38168</c:v>
                </c:pt>
                <c:pt idx="45">
                  <c:v>38199</c:v>
                </c:pt>
                <c:pt idx="46">
                  <c:v>38230</c:v>
                </c:pt>
                <c:pt idx="47">
                  <c:v>38260</c:v>
                </c:pt>
                <c:pt idx="48">
                  <c:v>38291</c:v>
                </c:pt>
                <c:pt idx="49">
                  <c:v>38321</c:v>
                </c:pt>
                <c:pt idx="50">
                  <c:v>38352</c:v>
                </c:pt>
                <c:pt idx="51">
                  <c:v>38383</c:v>
                </c:pt>
                <c:pt idx="52">
                  <c:v>38411</c:v>
                </c:pt>
                <c:pt idx="53">
                  <c:v>38442</c:v>
                </c:pt>
                <c:pt idx="54">
                  <c:v>38472</c:v>
                </c:pt>
                <c:pt idx="55">
                  <c:v>38503</c:v>
                </c:pt>
                <c:pt idx="56">
                  <c:v>38533</c:v>
                </c:pt>
                <c:pt idx="57">
                  <c:v>38564</c:v>
                </c:pt>
                <c:pt idx="58">
                  <c:v>38595</c:v>
                </c:pt>
                <c:pt idx="59">
                  <c:v>38625</c:v>
                </c:pt>
                <c:pt idx="60">
                  <c:v>38656</c:v>
                </c:pt>
                <c:pt idx="61">
                  <c:v>38686</c:v>
                </c:pt>
                <c:pt idx="62">
                  <c:v>38717</c:v>
                </c:pt>
                <c:pt idx="63">
                  <c:v>38748</c:v>
                </c:pt>
                <c:pt idx="64">
                  <c:v>38776</c:v>
                </c:pt>
                <c:pt idx="65">
                  <c:v>38807</c:v>
                </c:pt>
                <c:pt idx="66">
                  <c:v>38837</c:v>
                </c:pt>
                <c:pt idx="67">
                  <c:v>38868</c:v>
                </c:pt>
                <c:pt idx="68">
                  <c:v>38898</c:v>
                </c:pt>
                <c:pt idx="69">
                  <c:v>38929</c:v>
                </c:pt>
                <c:pt idx="70">
                  <c:v>38960</c:v>
                </c:pt>
                <c:pt idx="71">
                  <c:v>38990</c:v>
                </c:pt>
                <c:pt idx="72">
                  <c:v>39021</c:v>
                </c:pt>
                <c:pt idx="73">
                  <c:v>39051</c:v>
                </c:pt>
                <c:pt idx="74">
                  <c:v>39082</c:v>
                </c:pt>
                <c:pt idx="75">
                  <c:v>39113</c:v>
                </c:pt>
                <c:pt idx="76">
                  <c:v>39141</c:v>
                </c:pt>
                <c:pt idx="77">
                  <c:v>39172</c:v>
                </c:pt>
                <c:pt idx="78">
                  <c:v>39202</c:v>
                </c:pt>
                <c:pt idx="79">
                  <c:v>39233</c:v>
                </c:pt>
                <c:pt idx="80">
                  <c:v>39263</c:v>
                </c:pt>
                <c:pt idx="81">
                  <c:v>39294</c:v>
                </c:pt>
                <c:pt idx="82">
                  <c:v>39325</c:v>
                </c:pt>
                <c:pt idx="83">
                  <c:v>39355</c:v>
                </c:pt>
                <c:pt idx="84">
                  <c:v>39386</c:v>
                </c:pt>
                <c:pt idx="85">
                  <c:v>39416</c:v>
                </c:pt>
                <c:pt idx="86">
                  <c:v>39447</c:v>
                </c:pt>
                <c:pt idx="87">
                  <c:v>39478</c:v>
                </c:pt>
                <c:pt idx="88">
                  <c:v>39507</c:v>
                </c:pt>
                <c:pt idx="89">
                  <c:v>39538</c:v>
                </c:pt>
                <c:pt idx="90">
                  <c:v>39568</c:v>
                </c:pt>
                <c:pt idx="91">
                  <c:v>39599</c:v>
                </c:pt>
                <c:pt idx="92">
                  <c:v>39629</c:v>
                </c:pt>
                <c:pt idx="93">
                  <c:v>39660</c:v>
                </c:pt>
                <c:pt idx="94">
                  <c:v>39691</c:v>
                </c:pt>
                <c:pt idx="95">
                  <c:v>39721</c:v>
                </c:pt>
                <c:pt idx="96">
                  <c:v>39752</c:v>
                </c:pt>
                <c:pt idx="97">
                  <c:v>39782</c:v>
                </c:pt>
                <c:pt idx="98">
                  <c:v>39813</c:v>
                </c:pt>
                <c:pt idx="99">
                  <c:v>39844</c:v>
                </c:pt>
                <c:pt idx="100">
                  <c:v>39872</c:v>
                </c:pt>
                <c:pt idx="101">
                  <c:v>39903</c:v>
                </c:pt>
                <c:pt idx="102">
                  <c:v>39933</c:v>
                </c:pt>
                <c:pt idx="103">
                  <c:v>39964</c:v>
                </c:pt>
                <c:pt idx="104">
                  <c:v>39994</c:v>
                </c:pt>
                <c:pt idx="105">
                  <c:v>40025</c:v>
                </c:pt>
                <c:pt idx="106">
                  <c:v>40056</c:v>
                </c:pt>
                <c:pt idx="107">
                  <c:v>40086</c:v>
                </c:pt>
                <c:pt idx="108">
                  <c:v>40117</c:v>
                </c:pt>
                <c:pt idx="109">
                  <c:v>40147</c:v>
                </c:pt>
                <c:pt idx="110">
                  <c:v>40178</c:v>
                </c:pt>
                <c:pt idx="111">
                  <c:v>40209</c:v>
                </c:pt>
                <c:pt idx="112">
                  <c:v>40237</c:v>
                </c:pt>
                <c:pt idx="113">
                  <c:v>40268</c:v>
                </c:pt>
                <c:pt idx="114">
                  <c:v>40298</c:v>
                </c:pt>
                <c:pt idx="115">
                  <c:v>40329</c:v>
                </c:pt>
                <c:pt idx="116">
                  <c:v>40359</c:v>
                </c:pt>
                <c:pt idx="117">
                  <c:v>40390</c:v>
                </c:pt>
                <c:pt idx="118">
                  <c:v>40421</c:v>
                </c:pt>
                <c:pt idx="119">
                  <c:v>40451</c:v>
                </c:pt>
                <c:pt idx="120">
                  <c:v>40482</c:v>
                </c:pt>
                <c:pt idx="121">
                  <c:v>40512</c:v>
                </c:pt>
                <c:pt idx="122">
                  <c:v>40543</c:v>
                </c:pt>
                <c:pt idx="123">
                  <c:v>40574</c:v>
                </c:pt>
                <c:pt idx="124">
                  <c:v>40602</c:v>
                </c:pt>
                <c:pt idx="125">
                  <c:v>40633</c:v>
                </c:pt>
                <c:pt idx="126">
                  <c:v>40663</c:v>
                </c:pt>
                <c:pt idx="127">
                  <c:v>40694</c:v>
                </c:pt>
                <c:pt idx="128">
                  <c:v>40724</c:v>
                </c:pt>
                <c:pt idx="129">
                  <c:v>40755</c:v>
                </c:pt>
                <c:pt idx="130">
                  <c:v>40786</c:v>
                </c:pt>
                <c:pt idx="131">
                  <c:v>40816</c:v>
                </c:pt>
                <c:pt idx="132">
                  <c:v>40847</c:v>
                </c:pt>
                <c:pt idx="133">
                  <c:v>40877</c:v>
                </c:pt>
                <c:pt idx="134">
                  <c:v>40908</c:v>
                </c:pt>
                <c:pt idx="135">
                  <c:v>40939</c:v>
                </c:pt>
                <c:pt idx="136">
                  <c:v>40968</c:v>
                </c:pt>
                <c:pt idx="137">
                  <c:v>40999</c:v>
                </c:pt>
                <c:pt idx="138">
                  <c:v>41029</c:v>
                </c:pt>
                <c:pt idx="139">
                  <c:v>41060</c:v>
                </c:pt>
                <c:pt idx="140">
                  <c:v>41090</c:v>
                </c:pt>
                <c:pt idx="141">
                  <c:v>41121</c:v>
                </c:pt>
                <c:pt idx="142">
                  <c:v>41152</c:v>
                </c:pt>
                <c:pt idx="143">
                  <c:v>41182</c:v>
                </c:pt>
                <c:pt idx="144">
                  <c:v>41213</c:v>
                </c:pt>
                <c:pt idx="145">
                  <c:v>41243</c:v>
                </c:pt>
                <c:pt idx="146">
                  <c:v>41274</c:v>
                </c:pt>
                <c:pt idx="147">
                  <c:v>41305</c:v>
                </c:pt>
                <c:pt idx="148">
                  <c:v>41333</c:v>
                </c:pt>
                <c:pt idx="149">
                  <c:v>41364</c:v>
                </c:pt>
                <c:pt idx="150">
                  <c:v>41394</c:v>
                </c:pt>
                <c:pt idx="151">
                  <c:v>41425</c:v>
                </c:pt>
                <c:pt idx="152">
                  <c:v>41455</c:v>
                </c:pt>
                <c:pt idx="153">
                  <c:v>41486</c:v>
                </c:pt>
                <c:pt idx="154">
                  <c:v>41517</c:v>
                </c:pt>
                <c:pt idx="155">
                  <c:v>41547</c:v>
                </c:pt>
                <c:pt idx="156">
                  <c:v>41578</c:v>
                </c:pt>
                <c:pt idx="157">
                  <c:v>41608</c:v>
                </c:pt>
                <c:pt idx="158">
                  <c:v>41639</c:v>
                </c:pt>
                <c:pt idx="159">
                  <c:v>41670</c:v>
                </c:pt>
                <c:pt idx="160">
                  <c:v>41698</c:v>
                </c:pt>
                <c:pt idx="161">
                  <c:v>41729</c:v>
                </c:pt>
                <c:pt idx="162">
                  <c:v>41759</c:v>
                </c:pt>
                <c:pt idx="163">
                  <c:v>41790</c:v>
                </c:pt>
                <c:pt idx="164">
                  <c:v>41820</c:v>
                </c:pt>
                <c:pt idx="165">
                  <c:v>41851</c:v>
                </c:pt>
              </c:numCache>
            </c:numRef>
          </c:cat>
          <c:val>
            <c:numRef>
              <c:f>Sheet1!$B$3:$B$168</c:f>
              <c:numCache>
                <c:formatCode>General</c:formatCode>
                <c:ptCount val="166"/>
                <c:pt idx="0">
                  <c:v>526.1</c:v>
                </c:pt>
                <c:pt idx="1">
                  <c:v>524.29999999999995</c:v>
                </c:pt>
                <c:pt idx="2">
                  <c:v>527.9</c:v>
                </c:pt>
                <c:pt idx="3">
                  <c:v>527.5</c:v>
                </c:pt>
                <c:pt idx="4">
                  <c:v>524.5</c:v>
                </c:pt>
                <c:pt idx="5">
                  <c:v>524.9</c:v>
                </c:pt>
                <c:pt idx="6">
                  <c:v>517.5</c:v>
                </c:pt>
                <c:pt idx="7">
                  <c:v>511.2</c:v>
                </c:pt>
                <c:pt idx="8">
                  <c:v>508.2</c:v>
                </c:pt>
                <c:pt idx="9">
                  <c:v>507.9</c:v>
                </c:pt>
                <c:pt idx="10">
                  <c:v>506.4</c:v>
                </c:pt>
                <c:pt idx="11">
                  <c:v>507.1</c:v>
                </c:pt>
                <c:pt idx="12">
                  <c:v>504.2</c:v>
                </c:pt>
                <c:pt idx="13">
                  <c:v>501.9</c:v>
                </c:pt>
                <c:pt idx="14">
                  <c:v>505.4</c:v>
                </c:pt>
                <c:pt idx="15">
                  <c:v>504.1</c:v>
                </c:pt>
                <c:pt idx="16">
                  <c:v>500.8</c:v>
                </c:pt>
                <c:pt idx="17">
                  <c:v>501</c:v>
                </c:pt>
                <c:pt idx="18">
                  <c:v>492.9</c:v>
                </c:pt>
                <c:pt idx="19">
                  <c:v>487.9</c:v>
                </c:pt>
                <c:pt idx="20">
                  <c:v>485.6</c:v>
                </c:pt>
                <c:pt idx="21">
                  <c:v>484.8</c:v>
                </c:pt>
                <c:pt idx="22">
                  <c:v>483.9</c:v>
                </c:pt>
                <c:pt idx="23">
                  <c:v>483.1</c:v>
                </c:pt>
                <c:pt idx="24">
                  <c:v>479.1</c:v>
                </c:pt>
                <c:pt idx="25">
                  <c:v>479</c:v>
                </c:pt>
                <c:pt idx="26">
                  <c:v>482.4</c:v>
                </c:pt>
                <c:pt idx="27">
                  <c:v>481.1</c:v>
                </c:pt>
                <c:pt idx="28">
                  <c:v>478.2</c:v>
                </c:pt>
                <c:pt idx="29">
                  <c:v>479.7</c:v>
                </c:pt>
                <c:pt idx="30">
                  <c:v>471.6</c:v>
                </c:pt>
                <c:pt idx="31">
                  <c:v>467</c:v>
                </c:pt>
                <c:pt idx="32">
                  <c:v>465</c:v>
                </c:pt>
                <c:pt idx="33">
                  <c:v>463.7</c:v>
                </c:pt>
                <c:pt idx="34">
                  <c:v>461</c:v>
                </c:pt>
                <c:pt idx="35">
                  <c:v>461.6</c:v>
                </c:pt>
                <c:pt idx="36">
                  <c:v>458.4</c:v>
                </c:pt>
                <c:pt idx="37">
                  <c:v>457.3</c:v>
                </c:pt>
                <c:pt idx="38">
                  <c:v>460.3</c:v>
                </c:pt>
                <c:pt idx="39">
                  <c:v>459.1</c:v>
                </c:pt>
                <c:pt idx="40">
                  <c:v>457.1</c:v>
                </c:pt>
                <c:pt idx="41">
                  <c:v>459.2</c:v>
                </c:pt>
                <c:pt idx="42">
                  <c:v>452.3</c:v>
                </c:pt>
                <c:pt idx="43">
                  <c:v>449.6</c:v>
                </c:pt>
                <c:pt idx="44">
                  <c:v>447.4</c:v>
                </c:pt>
                <c:pt idx="45">
                  <c:v>447.4</c:v>
                </c:pt>
                <c:pt idx="46">
                  <c:v>447.6</c:v>
                </c:pt>
                <c:pt idx="47">
                  <c:v>448.4</c:v>
                </c:pt>
                <c:pt idx="48">
                  <c:v>445.2</c:v>
                </c:pt>
                <c:pt idx="49">
                  <c:v>443.4</c:v>
                </c:pt>
                <c:pt idx="50">
                  <c:v>447</c:v>
                </c:pt>
                <c:pt idx="51">
                  <c:v>446.2</c:v>
                </c:pt>
                <c:pt idx="52">
                  <c:v>444.3</c:v>
                </c:pt>
                <c:pt idx="53">
                  <c:v>447.1</c:v>
                </c:pt>
                <c:pt idx="54">
                  <c:v>441.4</c:v>
                </c:pt>
                <c:pt idx="55">
                  <c:v>438.6</c:v>
                </c:pt>
                <c:pt idx="56">
                  <c:v>437</c:v>
                </c:pt>
                <c:pt idx="57">
                  <c:v>438.2</c:v>
                </c:pt>
                <c:pt idx="58">
                  <c:v>439.1</c:v>
                </c:pt>
                <c:pt idx="59">
                  <c:v>441.3</c:v>
                </c:pt>
                <c:pt idx="60">
                  <c:v>442.5</c:v>
                </c:pt>
                <c:pt idx="61">
                  <c:v>441.1</c:v>
                </c:pt>
                <c:pt idx="62">
                  <c:v>445.9</c:v>
                </c:pt>
                <c:pt idx="63">
                  <c:v>446.1</c:v>
                </c:pt>
                <c:pt idx="64">
                  <c:v>445.2</c:v>
                </c:pt>
                <c:pt idx="65">
                  <c:v>448.3</c:v>
                </c:pt>
                <c:pt idx="66">
                  <c:v>446.5</c:v>
                </c:pt>
                <c:pt idx="67">
                  <c:v>443.6</c:v>
                </c:pt>
                <c:pt idx="68">
                  <c:v>444.4</c:v>
                </c:pt>
                <c:pt idx="69">
                  <c:v>447</c:v>
                </c:pt>
                <c:pt idx="70">
                  <c:v>447</c:v>
                </c:pt>
                <c:pt idx="71">
                  <c:v>447.9</c:v>
                </c:pt>
                <c:pt idx="72">
                  <c:v>447</c:v>
                </c:pt>
                <c:pt idx="73">
                  <c:v>446</c:v>
                </c:pt>
                <c:pt idx="74">
                  <c:v>453.3</c:v>
                </c:pt>
                <c:pt idx="75">
                  <c:v>453.5</c:v>
                </c:pt>
                <c:pt idx="76">
                  <c:v>450.8</c:v>
                </c:pt>
                <c:pt idx="77">
                  <c:v>452.7</c:v>
                </c:pt>
                <c:pt idx="78">
                  <c:v>450.5</c:v>
                </c:pt>
                <c:pt idx="79">
                  <c:v>447.4</c:v>
                </c:pt>
                <c:pt idx="80">
                  <c:v>447.4</c:v>
                </c:pt>
                <c:pt idx="81">
                  <c:v>448.3</c:v>
                </c:pt>
                <c:pt idx="82">
                  <c:v>449.1</c:v>
                </c:pt>
                <c:pt idx="83">
                  <c:v>450.7</c:v>
                </c:pt>
                <c:pt idx="84">
                  <c:v>450</c:v>
                </c:pt>
                <c:pt idx="85">
                  <c:v>448.5</c:v>
                </c:pt>
                <c:pt idx="86">
                  <c:v>453.8</c:v>
                </c:pt>
                <c:pt idx="87">
                  <c:v>455.5</c:v>
                </c:pt>
                <c:pt idx="88">
                  <c:v>454.3</c:v>
                </c:pt>
                <c:pt idx="89">
                  <c:v>457.5</c:v>
                </c:pt>
                <c:pt idx="90">
                  <c:v>455.8</c:v>
                </c:pt>
                <c:pt idx="91">
                  <c:v>453.9</c:v>
                </c:pt>
                <c:pt idx="92">
                  <c:v>455.2</c:v>
                </c:pt>
                <c:pt idx="93">
                  <c:v>456.5</c:v>
                </c:pt>
                <c:pt idx="94">
                  <c:v>457.3</c:v>
                </c:pt>
                <c:pt idx="95">
                  <c:v>458</c:v>
                </c:pt>
                <c:pt idx="96">
                  <c:v>459.3</c:v>
                </c:pt>
                <c:pt idx="97">
                  <c:v>462.9</c:v>
                </c:pt>
                <c:pt idx="98">
                  <c:v>470.3</c:v>
                </c:pt>
                <c:pt idx="99">
                  <c:v>472</c:v>
                </c:pt>
                <c:pt idx="100">
                  <c:v>470.3</c:v>
                </c:pt>
                <c:pt idx="101">
                  <c:v>473</c:v>
                </c:pt>
                <c:pt idx="102">
                  <c:v>470.8</c:v>
                </c:pt>
                <c:pt idx="103">
                  <c:v>468</c:v>
                </c:pt>
                <c:pt idx="104">
                  <c:v>466.3</c:v>
                </c:pt>
                <c:pt idx="105">
                  <c:v>466</c:v>
                </c:pt>
                <c:pt idx="106">
                  <c:v>465.5</c:v>
                </c:pt>
                <c:pt idx="107">
                  <c:v>465</c:v>
                </c:pt>
                <c:pt idx="108">
                  <c:v>465.9</c:v>
                </c:pt>
                <c:pt idx="109">
                  <c:v>463.6</c:v>
                </c:pt>
                <c:pt idx="110">
                  <c:v>465.5</c:v>
                </c:pt>
                <c:pt idx="111">
                  <c:v>464.9</c:v>
                </c:pt>
                <c:pt idx="112">
                  <c:v>463.2</c:v>
                </c:pt>
                <c:pt idx="113">
                  <c:v>464.2</c:v>
                </c:pt>
                <c:pt idx="114">
                  <c:v>462.4</c:v>
                </c:pt>
                <c:pt idx="115">
                  <c:v>458.6</c:v>
                </c:pt>
                <c:pt idx="116">
                  <c:v>456.9</c:v>
                </c:pt>
                <c:pt idx="117">
                  <c:v>457.5</c:v>
                </c:pt>
                <c:pt idx="118">
                  <c:v>456.6</c:v>
                </c:pt>
                <c:pt idx="119">
                  <c:v>456.7</c:v>
                </c:pt>
                <c:pt idx="120">
                  <c:v>456.8</c:v>
                </c:pt>
                <c:pt idx="121">
                  <c:v>454.4</c:v>
                </c:pt>
                <c:pt idx="122">
                  <c:v>456.5</c:v>
                </c:pt>
                <c:pt idx="123">
                  <c:v>456.6</c:v>
                </c:pt>
                <c:pt idx="124">
                  <c:v>454.7</c:v>
                </c:pt>
                <c:pt idx="125">
                  <c:v>456.3</c:v>
                </c:pt>
                <c:pt idx="126">
                  <c:v>458.2</c:v>
                </c:pt>
                <c:pt idx="127">
                  <c:v>455.2</c:v>
                </c:pt>
                <c:pt idx="128">
                  <c:v>454.2</c:v>
                </c:pt>
                <c:pt idx="129">
                  <c:v>455.1</c:v>
                </c:pt>
                <c:pt idx="130">
                  <c:v>454.5</c:v>
                </c:pt>
                <c:pt idx="131">
                  <c:v>455.4</c:v>
                </c:pt>
                <c:pt idx="132">
                  <c:v>457</c:v>
                </c:pt>
                <c:pt idx="133">
                  <c:v>455.1</c:v>
                </c:pt>
                <c:pt idx="134">
                  <c:v>458.2</c:v>
                </c:pt>
                <c:pt idx="135">
                  <c:v>459.2</c:v>
                </c:pt>
                <c:pt idx="136">
                  <c:v>457.5</c:v>
                </c:pt>
                <c:pt idx="137">
                  <c:v>459.7</c:v>
                </c:pt>
                <c:pt idx="138">
                  <c:v>459.3</c:v>
                </c:pt>
                <c:pt idx="139">
                  <c:v>456.2</c:v>
                </c:pt>
                <c:pt idx="140">
                  <c:v>457</c:v>
                </c:pt>
                <c:pt idx="141">
                  <c:v>458.2</c:v>
                </c:pt>
                <c:pt idx="142">
                  <c:v>458.2</c:v>
                </c:pt>
                <c:pt idx="143">
                  <c:v>459.6</c:v>
                </c:pt>
                <c:pt idx="144">
                  <c:v>460.7</c:v>
                </c:pt>
                <c:pt idx="145">
                  <c:v>459.5</c:v>
                </c:pt>
                <c:pt idx="146">
                  <c:v>463.4</c:v>
                </c:pt>
                <c:pt idx="147">
                  <c:v>465</c:v>
                </c:pt>
                <c:pt idx="148">
                  <c:v>464.2</c:v>
                </c:pt>
                <c:pt idx="149">
                  <c:v>466.7</c:v>
                </c:pt>
                <c:pt idx="150">
                  <c:v>467</c:v>
                </c:pt>
                <c:pt idx="151">
                  <c:v>464.4</c:v>
                </c:pt>
                <c:pt idx="152">
                  <c:v>465.3</c:v>
                </c:pt>
                <c:pt idx="153">
                  <c:v>467.2</c:v>
                </c:pt>
                <c:pt idx="154">
                  <c:v>467.3</c:v>
                </c:pt>
                <c:pt idx="155">
                  <c:v>468.5</c:v>
                </c:pt>
                <c:pt idx="156">
                  <c:v>469.8</c:v>
                </c:pt>
                <c:pt idx="157">
                  <c:v>469.3</c:v>
                </c:pt>
                <c:pt idx="158">
                  <c:v>473.8</c:v>
                </c:pt>
                <c:pt idx="159">
                  <c:v>475.6</c:v>
                </c:pt>
                <c:pt idx="160">
                  <c:v>474.4</c:v>
                </c:pt>
                <c:pt idx="161">
                  <c:v>476.3</c:v>
                </c:pt>
                <c:pt idx="162">
                  <c:v>476.6</c:v>
                </c:pt>
                <c:pt idx="163">
                  <c:v>474.8</c:v>
                </c:pt>
                <c:pt idx="164">
                  <c:v>476.2</c:v>
                </c:pt>
                <c:pt idx="165">
                  <c:v>477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647872"/>
        <c:axId val="103653760"/>
      </c:lineChart>
      <c:lineChart>
        <c:grouping val="standard"/>
        <c:varyColors val="0"/>
        <c:ser>
          <c:idx val="2"/>
          <c:order val="1"/>
          <c:tx>
            <c:strRef>
              <c:f>Sheet1!$G$2</c:f>
              <c:strCache>
                <c:ptCount val="1"/>
                <c:pt idx="0">
                  <c:v>Eurozóna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numRef>
              <c:f>Sheet1!$A$3:$A$168</c:f>
              <c:numCache>
                <c:formatCode>m/d/yyyy</c:formatCode>
                <c:ptCount val="166"/>
                <c:pt idx="0">
                  <c:v>36830</c:v>
                </c:pt>
                <c:pt idx="1">
                  <c:v>36860</c:v>
                </c:pt>
                <c:pt idx="2">
                  <c:v>36891</c:v>
                </c:pt>
                <c:pt idx="3">
                  <c:v>36922</c:v>
                </c:pt>
                <c:pt idx="4">
                  <c:v>36950</c:v>
                </c:pt>
                <c:pt idx="5">
                  <c:v>36981</c:v>
                </c:pt>
                <c:pt idx="6">
                  <c:v>37011</c:v>
                </c:pt>
                <c:pt idx="7">
                  <c:v>37042</c:v>
                </c:pt>
                <c:pt idx="8">
                  <c:v>37072</c:v>
                </c:pt>
                <c:pt idx="9">
                  <c:v>37103</c:v>
                </c:pt>
                <c:pt idx="10">
                  <c:v>37134</c:v>
                </c:pt>
                <c:pt idx="11">
                  <c:v>37164</c:v>
                </c:pt>
                <c:pt idx="12">
                  <c:v>37195</c:v>
                </c:pt>
                <c:pt idx="13">
                  <c:v>37225</c:v>
                </c:pt>
                <c:pt idx="14">
                  <c:v>37256</c:v>
                </c:pt>
                <c:pt idx="15">
                  <c:v>37287</c:v>
                </c:pt>
                <c:pt idx="16">
                  <c:v>37315</c:v>
                </c:pt>
                <c:pt idx="17">
                  <c:v>37346</c:v>
                </c:pt>
                <c:pt idx="18">
                  <c:v>37376</c:v>
                </c:pt>
                <c:pt idx="19">
                  <c:v>37407</c:v>
                </c:pt>
                <c:pt idx="20">
                  <c:v>37437</c:v>
                </c:pt>
                <c:pt idx="21">
                  <c:v>37468</c:v>
                </c:pt>
                <c:pt idx="22">
                  <c:v>37499</c:v>
                </c:pt>
                <c:pt idx="23">
                  <c:v>37529</c:v>
                </c:pt>
                <c:pt idx="24">
                  <c:v>37560</c:v>
                </c:pt>
                <c:pt idx="25">
                  <c:v>37590</c:v>
                </c:pt>
                <c:pt idx="26">
                  <c:v>37621</c:v>
                </c:pt>
                <c:pt idx="27">
                  <c:v>37652</c:v>
                </c:pt>
                <c:pt idx="28">
                  <c:v>37680</c:v>
                </c:pt>
                <c:pt idx="29">
                  <c:v>37711</c:v>
                </c:pt>
                <c:pt idx="30">
                  <c:v>37741</c:v>
                </c:pt>
                <c:pt idx="31">
                  <c:v>37772</c:v>
                </c:pt>
                <c:pt idx="32">
                  <c:v>37802</c:v>
                </c:pt>
                <c:pt idx="33">
                  <c:v>37833</c:v>
                </c:pt>
                <c:pt idx="34">
                  <c:v>37864</c:v>
                </c:pt>
                <c:pt idx="35">
                  <c:v>37894</c:v>
                </c:pt>
                <c:pt idx="36">
                  <c:v>37925</c:v>
                </c:pt>
                <c:pt idx="37">
                  <c:v>37955</c:v>
                </c:pt>
                <c:pt idx="38">
                  <c:v>37986</c:v>
                </c:pt>
                <c:pt idx="39">
                  <c:v>38017</c:v>
                </c:pt>
                <c:pt idx="40">
                  <c:v>38046</c:v>
                </c:pt>
                <c:pt idx="41">
                  <c:v>38077</c:v>
                </c:pt>
                <c:pt idx="42">
                  <c:v>38107</c:v>
                </c:pt>
                <c:pt idx="43">
                  <c:v>38138</c:v>
                </c:pt>
                <c:pt idx="44">
                  <c:v>38168</c:v>
                </c:pt>
                <c:pt idx="45">
                  <c:v>38199</c:v>
                </c:pt>
                <c:pt idx="46">
                  <c:v>38230</c:v>
                </c:pt>
                <c:pt idx="47">
                  <c:v>38260</c:v>
                </c:pt>
                <c:pt idx="48">
                  <c:v>38291</c:v>
                </c:pt>
                <c:pt idx="49">
                  <c:v>38321</c:v>
                </c:pt>
                <c:pt idx="50">
                  <c:v>38352</c:v>
                </c:pt>
                <c:pt idx="51">
                  <c:v>38383</c:v>
                </c:pt>
                <c:pt idx="52">
                  <c:v>38411</c:v>
                </c:pt>
                <c:pt idx="53">
                  <c:v>38442</c:v>
                </c:pt>
                <c:pt idx="54">
                  <c:v>38472</c:v>
                </c:pt>
                <c:pt idx="55">
                  <c:v>38503</c:v>
                </c:pt>
                <c:pt idx="56">
                  <c:v>38533</c:v>
                </c:pt>
                <c:pt idx="57">
                  <c:v>38564</c:v>
                </c:pt>
                <c:pt idx="58">
                  <c:v>38595</c:v>
                </c:pt>
                <c:pt idx="59">
                  <c:v>38625</c:v>
                </c:pt>
                <c:pt idx="60">
                  <c:v>38656</c:v>
                </c:pt>
                <c:pt idx="61">
                  <c:v>38686</c:v>
                </c:pt>
                <c:pt idx="62">
                  <c:v>38717</c:v>
                </c:pt>
                <c:pt idx="63">
                  <c:v>38748</c:v>
                </c:pt>
                <c:pt idx="64">
                  <c:v>38776</c:v>
                </c:pt>
                <c:pt idx="65">
                  <c:v>38807</c:v>
                </c:pt>
                <c:pt idx="66">
                  <c:v>38837</c:v>
                </c:pt>
                <c:pt idx="67">
                  <c:v>38868</c:v>
                </c:pt>
                <c:pt idx="68">
                  <c:v>38898</c:v>
                </c:pt>
                <c:pt idx="69">
                  <c:v>38929</c:v>
                </c:pt>
                <c:pt idx="70">
                  <c:v>38960</c:v>
                </c:pt>
                <c:pt idx="71">
                  <c:v>38990</c:v>
                </c:pt>
                <c:pt idx="72">
                  <c:v>39021</c:v>
                </c:pt>
                <c:pt idx="73">
                  <c:v>39051</c:v>
                </c:pt>
                <c:pt idx="74">
                  <c:v>39082</c:v>
                </c:pt>
                <c:pt idx="75">
                  <c:v>39113</c:v>
                </c:pt>
                <c:pt idx="76">
                  <c:v>39141</c:v>
                </c:pt>
                <c:pt idx="77">
                  <c:v>39172</c:v>
                </c:pt>
                <c:pt idx="78">
                  <c:v>39202</c:v>
                </c:pt>
                <c:pt idx="79">
                  <c:v>39233</c:v>
                </c:pt>
                <c:pt idx="80">
                  <c:v>39263</c:v>
                </c:pt>
                <c:pt idx="81">
                  <c:v>39294</c:v>
                </c:pt>
                <c:pt idx="82">
                  <c:v>39325</c:v>
                </c:pt>
                <c:pt idx="83">
                  <c:v>39355</c:v>
                </c:pt>
                <c:pt idx="84">
                  <c:v>39386</c:v>
                </c:pt>
                <c:pt idx="85">
                  <c:v>39416</c:v>
                </c:pt>
                <c:pt idx="86">
                  <c:v>39447</c:v>
                </c:pt>
                <c:pt idx="87">
                  <c:v>39478</c:v>
                </c:pt>
                <c:pt idx="88">
                  <c:v>39507</c:v>
                </c:pt>
                <c:pt idx="89">
                  <c:v>39538</c:v>
                </c:pt>
                <c:pt idx="90">
                  <c:v>39568</c:v>
                </c:pt>
                <c:pt idx="91">
                  <c:v>39599</c:v>
                </c:pt>
                <c:pt idx="92">
                  <c:v>39629</c:v>
                </c:pt>
                <c:pt idx="93">
                  <c:v>39660</c:v>
                </c:pt>
                <c:pt idx="94">
                  <c:v>39691</c:v>
                </c:pt>
                <c:pt idx="95">
                  <c:v>39721</c:v>
                </c:pt>
                <c:pt idx="96">
                  <c:v>39752</c:v>
                </c:pt>
                <c:pt idx="97">
                  <c:v>39782</c:v>
                </c:pt>
                <c:pt idx="98">
                  <c:v>39813</c:v>
                </c:pt>
                <c:pt idx="99">
                  <c:v>39844</c:v>
                </c:pt>
                <c:pt idx="100">
                  <c:v>39872</c:v>
                </c:pt>
                <c:pt idx="101">
                  <c:v>39903</c:v>
                </c:pt>
                <c:pt idx="102">
                  <c:v>39933</c:v>
                </c:pt>
                <c:pt idx="103">
                  <c:v>39964</c:v>
                </c:pt>
                <c:pt idx="104">
                  <c:v>39994</c:v>
                </c:pt>
                <c:pt idx="105">
                  <c:v>40025</c:v>
                </c:pt>
                <c:pt idx="106">
                  <c:v>40056</c:v>
                </c:pt>
                <c:pt idx="107">
                  <c:v>40086</c:v>
                </c:pt>
                <c:pt idx="108">
                  <c:v>40117</c:v>
                </c:pt>
                <c:pt idx="109">
                  <c:v>40147</c:v>
                </c:pt>
                <c:pt idx="110">
                  <c:v>40178</c:v>
                </c:pt>
                <c:pt idx="111">
                  <c:v>40209</c:v>
                </c:pt>
                <c:pt idx="112">
                  <c:v>40237</c:v>
                </c:pt>
                <c:pt idx="113">
                  <c:v>40268</c:v>
                </c:pt>
                <c:pt idx="114">
                  <c:v>40298</c:v>
                </c:pt>
                <c:pt idx="115">
                  <c:v>40329</c:v>
                </c:pt>
                <c:pt idx="116">
                  <c:v>40359</c:v>
                </c:pt>
                <c:pt idx="117">
                  <c:v>40390</c:v>
                </c:pt>
                <c:pt idx="118">
                  <c:v>40421</c:v>
                </c:pt>
                <c:pt idx="119">
                  <c:v>40451</c:v>
                </c:pt>
                <c:pt idx="120">
                  <c:v>40482</c:v>
                </c:pt>
                <c:pt idx="121">
                  <c:v>40512</c:v>
                </c:pt>
                <c:pt idx="122">
                  <c:v>40543</c:v>
                </c:pt>
                <c:pt idx="123">
                  <c:v>40574</c:v>
                </c:pt>
                <c:pt idx="124">
                  <c:v>40602</c:v>
                </c:pt>
                <c:pt idx="125">
                  <c:v>40633</c:v>
                </c:pt>
                <c:pt idx="126">
                  <c:v>40663</c:v>
                </c:pt>
                <c:pt idx="127">
                  <c:v>40694</c:v>
                </c:pt>
                <c:pt idx="128">
                  <c:v>40724</c:v>
                </c:pt>
                <c:pt idx="129">
                  <c:v>40755</c:v>
                </c:pt>
                <c:pt idx="130">
                  <c:v>40786</c:v>
                </c:pt>
                <c:pt idx="131">
                  <c:v>40816</c:v>
                </c:pt>
                <c:pt idx="132">
                  <c:v>40847</c:v>
                </c:pt>
                <c:pt idx="133">
                  <c:v>40877</c:v>
                </c:pt>
                <c:pt idx="134">
                  <c:v>40908</c:v>
                </c:pt>
                <c:pt idx="135">
                  <c:v>40939</c:v>
                </c:pt>
                <c:pt idx="136">
                  <c:v>40968</c:v>
                </c:pt>
                <c:pt idx="137">
                  <c:v>40999</c:v>
                </c:pt>
                <c:pt idx="138">
                  <c:v>41029</c:v>
                </c:pt>
                <c:pt idx="139">
                  <c:v>41060</c:v>
                </c:pt>
                <c:pt idx="140">
                  <c:v>41090</c:v>
                </c:pt>
                <c:pt idx="141">
                  <c:v>41121</c:v>
                </c:pt>
                <c:pt idx="142">
                  <c:v>41152</c:v>
                </c:pt>
                <c:pt idx="143">
                  <c:v>41182</c:v>
                </c:pt>
                <c:pt idx="144">
                  <c:v>41213</c:v>
                </c:pt>
                <c:pt idx="145">
                  <c:v>41243</c:v>
                </c:pt>
                <c:pt idx="146">
                  <c:v>41274</c:v>
                </c:pt>
                <c:pt idx="147">
                  <c:v>41305</c:v>
                </c:pt>
                <c:pt idx="148">
                  <c:v>41333</c:v>
                </c:pt>
                <c:pt idx="149">
                  <c:v>41364</c:v>
                </c:pt>
                <c:pt idx="150">
                  <c:v>41394</c:v>
                </c:pt>
                <c:pt idx="151">
                  <c:v>41425</c:v>
                </c:pt>
                <c:pt idx="152">
                  <c:v>41455</c:v>
                </c:pt>
                <c:pt idx="153">
                  <c:v>41486</c:v>
                </c:pt>
                <c:pt idx="154">
                  <c:v>41517</c:v>
                </c:pt>
                <c:pt idx="155">
                  <c:v>41547</c:v>
                </c:pt>
                <c:pt idx="156">
                  <c:v>41578</c:v>
                </c:pt>
                <c:pt idx="157">
                  <c:v>41608</c:v>
                </c:pt>
                <c:pt idx="158">
                  <c:v>41639</c:v>
                </c:pt>
                <c:pt idx="159">
                  <c:v>41670</c:v>
                </c:pt>
                <c:pt idx="160">
                  <c:v>41698</c:v>
                </c:pt>
                <c:pt idx="161">
                  <c:v>41729</c:v>
                </c:pt>
                <c:pt idx="162">
                  <c:v>41759</c:v>
                </c:pt>
                <c:pt idx="163">
                  <c:v>41790</c:v>
                </c:pt>
                <c:pt idx="164">
                  <c:v>41820</c:v>
                </c:pt>
                <c:pt idx="165">
                  <c:v>41851</c:v>
                </c:pt>
              </c:numCache>
            </c:numRef>
          </c:cat>
          <c:val>
            <c:numRef>
              <c:f>Sheet1!$G$102:$G$168</c:f>
              <c:numCache>
                <c:formatCode>General</c:formatCode>
                <c:ptCount val="67"/>
                <c:pt idx="0">
                  <c:v>4877.1000000000004</c:v>
                </c:pt>
                <c:pt idx="1">
                  <c:v>4865</c:v>
                </c:pt>
                <c:pt idx="2">
                  <c:v>4843.8999999999996</c:v>
                </c:pt>
                <c:pt idx="3">
                  <c:v>4846.3999999999996</c:v>
                </c:pt>
                <c:pt idx="4">
                  <c:v>4828.3</c:v>
                </c:pt>
                <c:pt idx="5">
                  <c:v>4805</c:v>
                </c:pt>
                <c:pt idx="6">
                  <c:v>4787.3</c:v>
                </c:pt>
                <c:pt idx="7">
                  <c:v>4755.5</c:v>
                </c:pt>
                <c:pt idx="8">
                  <c:v>4741.3999999999996</c:v>
                </c:pt>
                <c:pt idx="9">
                  <c:v>4722</c:v>
                </c:pt>
                <c:pt idx="10">
                  <c:v>4720.8</c:v>
                </c:pt>
                <c:pt idx="11">
                  <c:v>4691.3</c:v>
                </c:pt>
                <c:pt idx="12">
                  <c:v>4686</c:v>
                </c:pt>
                <c:pt idx="13">
                  <c:v>4689</c:v>
                </c:pt>
                <c:pt idx="14">
                  <c:v>4679.7</c:v>
                </c:pt>
                <c:pt idx="15">
                  <c:v>4666.5</c:v>
                </c:pt>
                <c:pt idx="16">
                  <c:v>4687.3999999999996</c:v>
                </c:pt>
                <c:pt idx="17">
                  <c:v>4697.8999999999996</c:v>
                </c:pt>
                <c:pt idx="18">
                  <c:v>4680.8</c:v>
                </c:pt>
                <c:pt idx="19">
                  <c:v>4670.7</c:v>
                </c:pt>
                <c:pt idx="20">
                  <c:v>4687.5</c:v>
                </c:pt>
                <c:pt idx="21">
                  <c:v>4673.3</c:v>
                </c:pt>
                <c:pt idx="22">
                  <c:v>4695.1000000000004</c:v>
                </c:pt>
                <c:pt idx="23">
                  <c:v>4668.5</c:v>
                </c:pt>
                <c:pt idx="24">
                  <c:v>4698.8999999999996</c:v>
                </c:pt>
                <c:pt idx="25">
                  <c:v>4704.3</c:v>
                </c:pt>
                <c:pt idx="26">
                  <c:v>4705.5</c:v>
                </c:pt>
                <c:pt idx="27">
                  <c:v>4702</c:v>
                </c:pt>
                <c:pt idx="28">
                  <c:v>4719.3</c:v>
                </c:pt>
                <c:pt idx="29">
                  <c:v>4739.2</c:v>
                </c:pt>
                <c:pt idx="30">
                  <c:v>4742.5</c:v>
                </c:pt>
                <c:pt idx="31">
                  <c:v>4723</c:v>
                </c:pt>
                <c:pt idx="32">
                  <c:v>4755.3</c:v>
                </c:pt>
                <c:pt idx="33">
                  <c:v>4751.6000000000004</c:v>
                </c:pt>
                <c:pt idx="34">
                  <c:v>4757.6000000000004</c:v>
                </c:pt>
                <c:pt idx="35">
                  <c:v>4720</c:v>
                </c:pt>
                <c:pt idx="36">
                  <c:v>4722</c:v>
                </c:pt>
                <c:pt idx="37">
                  <c:v>4710.6000000000004</c:v>
                </c:pt>
                <c:pt idx="38">
                  <c:v>4699.3</c:v>
                </c:pt>
                <c:pt idx="39">
                  <c:v>4704.3</c:v>
                </c:pt>
                <c:pt idx="40">
                  <c:v>4705.2</c:v>
                </c:pt>
                <c:pt idx="41">
                  <c:v>4700.5</c:v>
                </c:pt>
                <c:pt idx="42">
                  <c:v>4706.2</c:v>
                </c:pt>
                <c:pt idx="43">
                  <c:v>4671.1000000000004</c:v>
                </c:pt>
                <c:pt idx="44">
                  <c:v>4652.3999999999996</c:v>
                </c:pt>
                <c:pt idx="45">
                  <c:v>4638.5</c:v>
                </c:pt>
                <c:pt idx="46">
                  <c:v>4636.8999999999996</c:v>
                </c:pt>
                <c:pt idx="47">
                  <c:v>4535.8999999999996</c:v>
                </c:pt>
                <c:pt idx="48">
                  <c:v>4523.3999999999996</c:v>
                </c:pt>
                <c:pt idx="49">
                  <c:v>4505.3999999999996</c:v>
                </c:pt>
                <c:pt idx="50">
                  <c:v>4503.1000000000004</c:v>
                </c:pt>
                <c:pt idx="51">
                  <c:v>4478.5</c:v>
                </c:pt>
                <c:pt idx="52">
                  <c:v>4460.8</c:v>
                </c:pt>
                <c:pt idx="53">
                  <c:v>4446.5</c:v>
                </c:pt>
                <c:pt idx="54">
                  <c:v>4429.3999999999996</c:v>
                </c:pt>
                <c:pt idx="55">
                  <c:v>4399.5</c:v>
                </c:pt>
                <c:pt idx="56">
                  <c:v>4393.5</c:v>
                </c:pt>
                <c:pt idx="57">
                  <c:v>4377.1000000000004</c:v>
                </c:pt>
                <c:pt idx="58">
                  <c:v>4371.1000000000004</c:v>
                </c:pt>
                <c:pt idx="59">
                  <c:v>4344.6000000000004</c:v>
                </c:pt>
                <c:pt idx="60">
                  <c:v>4368.8999999999996</c:v>
                </c:pt>
                <c:pt idx="61">
                  <c:v>4344.8</c:v>
                </c:pt>
                <c:pt idx="62">
                  <c:v>4336.3999999999996</c:v>
                </c:pt>
                <c:pt idx="63">
                  <c:v>4328.8999999999996</c:v>
                </c:pt>
                <c:pt idx="64">
                  <c:v>4319</c:v>
                </c:pt>
                <c:pt idx="65">
                  <c:v>4316</c:v>
                </c:pt>
                <c:pt idx="66">
                  <c:v>4304.100000000000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666048"/>
        <c:axId val="103655680"/>
      </c:lineChart>
      <c:dateAx>
        <c:axId val="103647872"/>
        <c:scaling>
          <c:orientation val="minMax"/>
        </c:scaling>
        <c:delete val="1"/>
        <c:axPos val="b"/>
        <c:numFmt formatCode="yyyy" sourceLinked="0"/>
        <c:majorTickMark val="none"/>
        <c:minorTickMark val="none"/>
        <c:tickLblPos val="nextTo"/>
        <c:crossAx val="103653760"/>
        <c:crosses val="autoZero"/>
        <c:auto val="1"/>
        <c:lblOffset val="100"/>
        <c:baseTimeUnit val="months"/>
        <c:majorUnit val="24"/>
        <c:majorTimeUnit val="months"/>
      </c:dateAx>
      <c:valAx>
        <c:axId val="103653760"/>
        <c:scaling>
          <c:orientation val="minMax"/>
          <c:max val="540"/>
          <c:min val="420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 smtClean="0"/>
                  <a:t>biliony</a:t>
                </a:r>
                <a:r>
                  <a:rPr lang="en-US" dirty="0" smtClean="0"/>
                  <a:t> </a:t>
                </a:r>
                <a:r>
                  <a:rPr lang="en-US" dirty="0"/>
                  <a:t>JPN</a:t>
                </a:r>
              </a:p>
            </c:rich>
          </c:tx>
          <c:layout>
            <c:manualLayout>
              <c:xMode val="edge"/>
              <c:yMode val="edge"/>
              <c:x val="0"/>
              <c:y val="0.3138993495378295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03647872"/>
        <c:crosses val="autoZero"/>
        <c:crossBetween val="between"/>
      </c:valAx>
      <c:valAx>
        <c:axId val="103655680"/>
        <c:scaling>
          <c:orientation val="minMax"/>
          <c:max val="5000"/>
          <c:min val="2000"/>
        </c:scaling>
        <c:delete val="0"/>
        <c:axPos val="r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cs-CZ"/>
                  <a:t>mld</a:t>
                </a:r>
                <a:r>
                  <a:rPr lang="en-US"/>
                  <a:t> EUR</a:t>
                </a:r>
              </a:p>
            </c:rich>
          </c:tx>
          <c:layout>
            <c:manualLayout>
              <c:xMode val="edge"/>
              <c:yMode val="edge"/>
              <c:x val="0.95498600174978132"/>
              <c:y val="0.3494695975503061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03666048"/>
        <c:crosses val="max"/>
        <c:crossBetween val="between"/>
      </c:valAx>
      <c:dateAx>
        <c:axId val="103666048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103655680"/>
        <c:crosses val="autoZero"/>
        <c:auto val="1"/>
        <c:lblOffset val="100"/>
        <c:baseTimeUnit val="months"/>
      </c:dateAx>
    </c:plotArea>
    <c:legend>
      <c:legendPos val="r"/>
      <c:layout>
        <c:manualLayout>
          <c:xMode val="edge"/>
          <c:yMode val="edge"/>
          <c:x val="0.32084680292975576"/>
          <c:y val="0.32252513948314687"/>
          <c:w val="0.46871931132065281"/>
          <c:h val="0.1489158646835812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000"/>
            </a:pPr>
            <a:r>
              <a:rPr lang="cs-CZ" sz="2000"/>
              <a:t>Návratnost bankovních aktiv  (ROA)</a:t>
            </a:r>
            <a:endParaRPr lang="en-US" sz="2000"/>
          </a:p>
        </c:rich>
      </c:tx>
      <c:layout>
        <c:manualLayout>
          <c:xMode val="edge"/>
          <c:yMode val="edge"/>
          <c:x val="0.13375699912510935"/>
          <c:y val="4.166666666666666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306688145761584"/>
          <c:y val="2.8252405949256341E-2"/>
          <c:w val="0.84302061675686824"/>
          <c:h val="0.85588327500729078"/>
        </c:manualLayout>
      </c:layout>
      <c:lineChart>
        <c:grouping val="standard"/>
        <c:varyColors val="0"/>
        <c:ser>
          <c:idx val="0"/>
          <c:order val="0"/>
          <c:tx>
            <c:strRef>
              <c:f>Sheet3!$E$4</c:f>
              <c:strCache>
                <c:ptCount val="1"/>
                <c:pt idx="0">
                  <c:v>Japonsko</c:v>
                </c:pt>
              </c:strCache>
            </c:strRef>
          </c:tx>
          <c:spPr>
            <a:ln w="2540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Sheet3!$B$9:$B$29</c:f>
              <c:numCache>
                <c:formatCode>General</c:formatCode>
                <c:ptCount val="21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</c:numCache>
            </c:numRef>
          </c:cat>
          <c:val>
            <c:numRef>
              <c:f>Sheet3!$E$9:$E$29</c:f>
              <c:numCache>
                <c:formatCode>General</c:formatCode>
                <c:ptCount val="21"/>
                <c:pt idx="0">
                  <c:v>0.38</c:v>
                </c:pt>
                <c:pt idx="1">
                  <c:v>0.33</c:v>
                </c:pt>
                <c:pt idx="2">
                  <c:v>0.35</c:v>
                </c:pt>
                <c:pt idx="3">
                  <c:v>0.25</c:v>
                </c:pt>
                <c:pt idx="4">
                  <c:v>0.25</c:v>
                </c:pt>
                <c:pt idx="5">
                  <c:v>0.5</c:v>
                </c:pt>
                <c:pt idx="6">
                  <c:v>0.5</c:v>
                </c:pt>
                <c:pt idx="7">
                  <c:v>-0.74843740000000003</c:v>
                </c:pt>
                <c:pt idx="8">
                  <c:v>8.7293899999999994E-2</c:v>
                </c:pt>
                <c:pt idx="9">
                  <c:v>-6.8760500000000002E-2</c:v>
                </c:pt>
                <c:pt idx="10">
                  <c:v>-0.6934633</c:v>
                </c:pt>
                <c:pt idx="11">
                  <c:v>-0.75524469999999999</c:v>
                </c:pt>
                <c:pt idx="12">
                  <c:v>-0.1490687</c:v>
                </c:pt>
                <c:pt idx="13">
                  <c:v>6.0270600000000001E-2</c:v>
                </c:pt>
                <c:pt idx="14">
                  <c:v>0.5004033</c:v>
                </c:pt>
                <c:pt idx="15">
                  <c:v>0.43562129999999999</c:v>
                </c:pt>
                <c:pt idx="16">
                  <c:v>0.27876990000000001</c:v>
                </c:pt>
                <c:pt idx="17">
                  <c:v>-0.13298660000000001</c:v>
                </c:pt>
                <c:pt idx="18">
                  <c:v>0.2190512</c:v>
                </c:pt>
                <c:pt idx="19">
                  <c:v>0.25445590000000001</c:v>
                </c:pt>
                <c:pt idx="20">
                  <c:v>0.2805533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3!$H$4</c:f>
              <c:strCache>
                <c:ptCount val="1"/>
                <c:pt idx="0">
                  <c:v>Německo (2001-2011)</c:v>
                </c:pt>
              </c:strCache>
            </c:strRef>
          </c:tx>
          <c:spPr>
            <a:ln w="44450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Sheet3!$B$9:$B$29</c:f>
              <c:numCache>
                <c:formatCode>General</c:formatCode>
                <c:ptCount val="21"/>
                <c:pt idx="0">
                  <c:v>1991</c:v>
                </c:pt>
                <c:pt idx="1">
                  <c:v>1992</c:v>
                </c:pt>
                <c:pt idx="2">
                  <c:v>1993</c:v>
                </c:pt>
                <c:pt idx="3">
                  <c:v>1994</c:v>
                </c:pt>
                <c:pt idx="4">
                  <c:v>1995</c:v>
                </c:pt>
                <c:pt idx="5">
                  <c:v>1996</c:v>
                </c:pt>
                <c:pt idx="6">
                  <c:v>1997</c:v>
                </c:pt>
                <c:pt idx="7">
                  <c:v>1998</c:v>
                </c:pt>
                <c:pt idx="8">
                  <c:v>1999</c:v>
                </c:pt>
                <c:pt idx="9">
                  <c:v>2000</c:v>
                </c:pt>
                <c:pt idx="10">
                  <c:v>2001</c:v>
                </c:pt>
                <c:pt idx="11">
                  <c:v>2002</c:v>
                </c:pt>
                <c:pt idx="12">
                  <c:v>2003</c:v>
                </c:pt>
                <c:pt idx="13">
                  <c:v>2004</c:v>
                </c:pt>
                <c:pt idx="14">
                  <c:v>2005</c:v>
                </c:pt>
                <c:pt idx="15">
                  <c:v>2006</c:v>
                </c:pt>
                <c:pt idx="16">
                  <c:v>2007</c:v>
                </c:pt>
                <c:pt idx="17">
                  <c:v>2008</c:v>
                </c:pt>
                <c:pt idx="18">
                  <c:v>2009</c:v>
                </c:pt>
                <c:pt idx="19">
                  <c:v>2010</c:v>
                </c:pt>
                <c:pt idx="20">
                  <c:v>2011</c:v>
                </c:pt>
              </c:numCache>
            </c:numRef>
          </c:cat>
          <c:val>
            <c:numRef>
              <c:f>Sheet3!$H$19:$H$29</c:f>
              <c:numCache>
                <c:formatCode>General</c:formatCode>
                <c:ptCount val="11"/>
                <c:pt idx="0">
                  <c:v>0.1959929</c:v>
                </c:pt>
                <c:pt idx="1">
                  <c:v>-8.3729999999999999E-2</c:v>
                </c:pt>
                <c:pt idx="2">
                  <c:v>-0.36918210000000001</c:v>
                </c:pt>
                <c:pt idx="3">
                  <c:v>-7.8159699999999999E-2</c:v>
                </c:pt>
                <c:pt idx="4">
                  <c:v>0.30954090000000001</c:v>
                </c:pt>
                <c:pt idx="5">
                  <c:v>0.29176659999999999</c:v>
                </c:pt>
                <c:pt idx="6">
                  <c:v>0.4737267</c:v>
                </c:pt>
                <c:pt idx="7">
                  <c:v>-0.30401220000000001</c:v>
                </c:pt>
                <c:pt idx="8">
                  <c:v>-0.115247</c:v>
                </c:pt>
                <c:pt idx="9">
                  <c:v>7.54692E-2</c:v>
                </c:pt>
                <c:pt idx="10">
                  <c:v>2.446649999999999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745792"/>
        <c:axId val="103747584"/>
      </c:lineChart>
      <c:catAx>
        <c:axId val="103745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txPr>
          <a:bodyPr/>
          <a:lstStyle/>
          <a:p>
            <a:pPr>
              <a:defRPr sz="2000">
                <a:solidFill>
                  <a:srgbClr val="C00000"/>
                </a:solidFill>
              </a:defRPr>
            </a:pPr>
            <a:endParaRPr lang="cs-CZ"/>
          </a:p>
        </c:txPr>
        <c:crossAx val="103747584"/>
        <c:crosses val="autoZero"/>
        <c:auto val="1"/>
        <c:lblAlgn val="ctr"/>
        <c:lblOffset val="100"/>
        <c:tickLblSkip val="3"/>
        <c:noMultiLvlLbl val="0"/>
      </c:catAx>
      <c:valAx>
        <c:axId val="103747584"/>
        <c:scaling>
          <c:orientation val="minMax"/>
          <c:max val="1"/>
          <c:min val="-1"/>
        </c:scaling>
        <c:delete val="0"/>
        <c:axPos val="l"/>
        <c:majorGridlines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/>
                  <a:t>V %</a:t>
                </a:r>
              </a:p>
            </c:rich>
          </c:tx>
          <c:layout>
            <c:manualLayout>
              <c:xMode val="edge"/>
              <c:yMode val="edge"/>
              <c:x val="8.3333333333333332E-3"/>
              <c:y val="0.40650663458734326"/>
            </c:manualLayout>
          </c:layout>
          <c:overlay val="0"/>
        </c:title>
        <c:numFmt formatCode="#,##0.0" sourceLinked="0"/>
        <c:majorTickMark val="none"/>
        <c:minorTickMark val="none"/>
        <c:tickLblPos val="nextTo"/>
        <c:txPr>
          <a:bodyPr/>
          <a:lstStyle/>
          <a:p>
            <a:pPr>
              <a:defRPr sz="1800"/>
            </a:pPr>
            <a:endParaRPr lang="cs-CZ"/>
          </a:p>
        </c:txPr>
        <c:crossAx val="103745792"/>
        <c:crosses val="autoZero"/>
        <c:crossBetween val="between"/>
        <c:majorUnit val="0.5"/>
      </c:valAx>
      <c:spPr>
        <a:noFill/>
        <a:ln>
          <a:solidFill>
            <a:schemeClr val="bg1">
              <a:lumMod val="50000"/>
            </a:schemeClr>
          </a:solidFill>
        </a:ln>
      </c:spPr>
    </c:plotArea>
    <c:legend>
      <c:legendPos val="r"/>
      <c:layout>
        <c:manualLayout>
          <c:xMode val="edge"/>
          <c:yMode val="edge"/>
          <c:x val="0.41245964657773065"/>
          <c:y val="0.77288439958664323"/>
          <c:w val="0.51077256848004537"/>
          <c:h val="0.10453147090336201"/>
        </c:manualLayout>
      </c:layout>
      <c:overlay val="0"/>
      <c:txPr>
        <a:bodyPr/>
        <a:lstStyle/>
        <a:p>
          <a:pPr>
            <a:defRPr sz="1800"/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61EDE3-5DC0-4721-B0A9-340F8AB0BAB2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31EF7D2-A242-43B0-91E4-93ED86E6064F}">
      <dgm:prSet phldrT="[Text]"/>
      <dgm:spPr/>
      <dgm:t>
        <a:bodyPr/>
        <a:lstStyle/>
        <a:p>
          <a:pPr algn="l"/>
          <a:r>
            <a:rPr lang="cs-CZ" dirty="0" smtClean="0"/>
            <a:t>Dezinflace</a:t>
          </a:r>
          <a:endParaRPr lang="en-US" dirty="0"/>
        </a:p>
      </dgm:t>
    </dgm:pt>
    <dgm:pt modelId="{922555C6-C2BE-4B3A-B06F-2C71BAE34C92}" type="parTrans" cxnId="{5FC899BF-7E0E-46EC-835C-7A4B2862AE27}">
      <dgm:prSet/>
      <dgm:spPr/>
      <dgm:t>
        <a:bodyPr/>
        <a:lstStyle/>
        <a:p>
          <a:endParaRPr lang="en-US"/>
        </a:p>
      </dgm:t>
    </dgm:pt>
    <dgm:pt modelId="{17F44415-C162-4E14-9C97-3926B742D41F}" type="sibTrans" cxnId="{5FC899BF-7E0E-46EC-835C-7A4B2862AE27}">
      <dgm:prSet/>
      <dgm:spPr/>
      <dgm:t>
        <a:bodyPr/>
        <a:lstStyle/>
        <a:p>
          <a:endParaRPr lang="en-US"/>
        </a:p>
      </dgm:t>
    </dgm:pt>
    <dgm:pt modelId="{0D1BEC0F-CEE5-4448-A6CC-DD2E019060C6}">
      <dgm:prSet phldrT="[Text]"/>
      <dgm:spPr/>
      <dgm:t>
        <a:bodyPr/>
        <a:lstStyle/>
        <a:p>
          <a:pPr algn="l"/>
          <a:r>
            <a:rPr lang="cs-CZ" dirty="0" smtClean="0"/>
            <a:t>Plíživá deflace</a:t>
          </a:r>
          <a:endParaRPr lang="en-US" dirty="0"/>
        </a:p>
      </dgm:t>
    </dgm:pt>
    <dgm:pt modelId="{6C9EEA63-8D0C-4630-8A55-E056FBC9EF32}" type="parTrans" cxnId="{AC2B1A78-3E68-4A1B-9232-4B97CA377812}">
      <dgm:prSet/>
      <dgm:spPr/>
      <dgm:t>
        <a:bodyPr/>
        <a:lstStyle/>
        <a:p>
          <a:endParaRPr lang="en-US"/>
        </a:p>
      </dgm:t>
    </dgm:pt>
    <dgm:pt modelId="{32547B8A-EEC0-4851-8CD2-C3F7497BB5F4}" type="sibTrans" cxnId="{AC2B1A78-3E68-4A1B-9232-4B97CA377812}">
      <dgm:prSet/>
      <dgm:spPr/>
      <dgm:t>
        <a:bodyPr/>
        <a:lstStyle/>
        <a:p>
          <a:endParaRPr lang="en-US"/>
        </a:p>
      </dgm:t>
    </dgm:pt>
    <dgm:pt modelId="{8BB8F59A-DC61-4502-AE8E-F79133BAF9B9}">
      <dgm:prSet phldrT="[Text]"/>
      <dgm:spPr/>
      <dgm:t>
        <a:bodyPr/>
        <a:lstStyle/>
        <a:p>
          <a:pPr algn="l"/>
          <a:r>
            <a:rPr lang="cs-CZ" dirty="0" smtClean="0"/>
            <a:t>Deflační spirála</a:t>
          </a:r>
          <a:endParaRPr lang="en-US" dirty="0"/>
        </a:p>
      </dgm:t>
    </dgm:pt>
    <dgm:pt modelId="{7651886B-19D9-49A0-86EC-80EFBB2BBCFC}" type="parTrans" cxnId="{194C6809-3E1C-46CE-B696-3A09DA47C96C}">
      <dgm:prSet/>
      <dgm:spPr/>
      <dgm:t>
        <a:bodyPr/>
        <a:lstStyle/>
        <a:p>
          <a:endParaRPr lang="en-US"/>
        </a:p>
      </dgm:t>
    </dgm:pt>
    <dgm:pt modelId="{C8BF598E-4DD3-48D7-84D1-6B35BA2A36B7}" type="sibTrans" cxnId="{194C6809-3E1C-46CE-B696-3A09DA47C96C}">
      <dgm:prSet/>
      <dgm:spPr/>
      <dgm:t>
        <a:bodyPr/>
        <a:lstStyle/>
        <a:p>
          <a:endParaRPr lang="en-US"/>
        </a:p>
      </dgm:t>
    </dgm:pt>
    <dgm:pt modelId="{5BF90F2B-B9F9-4406-9A5D-BB3C1DF2039A}">
      <dgm:prSet phldrT="[Text]"/>
      <dgm:spPr/>
      <dgm:t>
        <a:bodyPr/>
        <a:lstStyle/>
        <a:p>
          <a:pPr algn="l"/>
          <a:r>
            <a:rPr lang="cs-CZ" dirty="0" smtClean="0"/>
            <a:t>Dluhová deflace</a:t>
          </a:r>
          <a:endParaRPr lang="en-US" dirty="0"/>
        </a:p>
      </dgm:t>
    </dgm:pt>
    <dgm:pt modelId="{6E7459DE-CEED-4703-8530-F920DEDCE9D6}" type="parTrans" cxnId="{24C833CD-458C-4175-85FC-74FAAB548BBD}">
      <dgm:prSet/>
      <dgm:spPr/>
      <dgm:t>
        <a:bodyPr/>
        <a:lstStyle/>
        <a:p>
          <a:endParaRPr lang="en-US"/>
        </a:p>
      </dgm:t>
    </dgm:pt>
    <dgm:pt modelId="{B33D9ED0-107D-440E-92FB-853F74079278}" type="sibTrans" cxnId="{24C833CD-458C-4175-85FC-74FAAB548BBD}">
      <dgm:prSet/>
      <dgm:spPr/>
      <dgm:t>
        <a:bodyPr/>
        <a:lstStyle/>
        <a:p>
          <a:endParaRPr lang="en-US"/>
        </a:p>
      </dgm:t>
    </dgm:pt>
    <dgm:pt modelId="{EF47D5CE-2C6B-49DC-962E-B1A2F1451796}" type="pres">
      <dgm:prSet presAssocID="{1F61EDE3-5DC0-4721-B0A9-340F8AB0BAB2}" presName="Name0" presStyleCnt="0">
        <dgm:presLayoutVars>
          <dgm:chMax val="7"/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8CA66DE-0ABE-4DAA-907C-BF603D6A72CD}" type="pres">
      <dgm:prSet presAssocID="{E31EF7D2-A242-43B0-91E4-93ED86E6064F}" presName="circle1" presStyleLbl="node1" presStyleIdx="0" presStyleCnt="4"/>
      <dgm:spPr/>
    </dgm:pt>
    <dgm:pt modelId="{B0044C97-FA58-4962-BF30-BF9C4A04212A}" type="pres">
      <dgm:prSet presAssocID="{E31EF7D2-A242-43B0-91E4-93ED86E6064F}" presName="space" presStyleCnt="0"/>
      <dgm:spPr/>
    </dgm:pt>
    <dgm:pt modelId="{41719D06-1E62-4FD6-8522-A689FDCCA784}" type="pres">
      <dgm:prSet presAssocID="{E31EF7D2-A242-43B0-91E4-93ED86E6064F}" presName="rect1" presStyleLbl="alignAcc1" presStyleIdx="0" presStyleCnt="4"/>
      <dgm:spPr/>
      <dgm:t>
        <a:bodyPr/>
        <a:lstStyle/>
        <a:p>
          <a:endParaRPr lang="en-US"/>
        </a:p>
      </dgm:t>
    </dgm:pt>
    <dgm:pt modelId="{5B34FCD3-6995-4733-A7BD-BCB2AFEE2D83}" type="pres">
      <dgm:prSet presAssocID="{0D1BEC0F-CEE5-4448-A6CC-DD2E019060C6}" presName="vertSpace2" presStyleLbl="node1" presStyleIdx="0" presStyleCnt="4"/>
      <dgm:spPr/>
    </dgm:pt>
    <dgm:pt modelId="{C4A90F3E-6A30-4D7A-97DF-761584C5AA57}" type="pres">
      <dgm:prSet presAssocID="{0D1BEC0F-CEE5-4448-A6CC-DD2E019060C6}" presName="circle2" presStyleLbl="node1" presStyleIdx="1" presStyleCnt="4"/>
      <dgm:spPr/>
    </dgm:pt>
    <dgm:pt modelId="{3E6F9B3A-67B5-45DB-AE55-38D7689D45DB}" type="pres">
      <dgm:prSet presAssocID="{0D1BEC0F-CEE5-4448-A6CC-DD2E019060C6}" presName="rect2" presStyleLbl="alignAcc1" presStyleIdx="1" presStyleCnt="4"/>
      <dgm:spPr/>
      <dgm:t>
        <a:bodyPr/>
        <a:lstStyle/>
        <a:p>
          <a:endParaRPr lang="en-US"/>
        </a:p>
      </dgm:t>
    </dgm:pt>
    <dgm:pt modelId="{42DD67E2-BF64-4725-9223-381F06B5E328}" type="pres">
      <dgm:prSet presAssocID="{5BF90F2B-B9F9-4406-9A5D-BB3C1DF2039A}" presName="vertSpace3" presStyleLbl="node1" presStyleIdx="1" presStyleCnt="4"/>
      <dgm:spPr/>
    </dgm:pt>
    <dgm:pt modelId="{D9D18567-675A-4D04-BC09-865C3AC90427}" type="pres">
      <dgm:prSet presAssocID="{5BF90F2B-B9F9-4406-9A5D-BB3C1DF2039A}" presName="circle3" presStyleLbl="node1" presStyleIdx="2" presStyleCnt="4"/>
      <dgm:spPr/>
    </dgm:pt>
    <dgm:pt modelId="{66A5A3EC-3C26-4B69-9A5B-10B1C6D35B3C}" type="pres">
      <dgm:prSet presAssocID="{5BF90F2B-B9F9-4406-9A5D-BB3C1DF2039A}" presName="rect3" presStyleLbl="alignAcc1" presStyleIdx="2" presStyleCnt="4"/>
      <dgm:spPr/>
      <dgm:t>
        <a:bodyPr/>
        <a:lstStyle/>
        <a:p>
          <a:endParaRPr lang="en-US"/>
        </a:p>
      </dgm:t>
    </dgm:pt>
    <dgm:pt modelId="{44C0C5AF-A14A-4AB7-9043-758160BD8937}" type="pres">
      <dgm:prSet presAssocID="{8BB8F59A-DC61-4502-AE8E-F79133BAF9B9}" presName="vertSpace4" presStyleLbl="node1" presStyleIdx="2" presStyleCnt="4"/>
      <dgm:spPr/>
    </dgm:pt>
    <dgm:pt modelId="{37EFEF4F-0BE2-4CC2-9E26-5E0F1A87B2C7}" type="pres">
      <dgm:prSet presAssocID="{8BB8F59A-DC61-4502-AE8E-F79133BAF9B9}" presName="circle4" presStyleLbl="node1" presStyleIdx="3" presStyleCnt="4"/>
      <dgm:spPr/>
    </dgm:pt>
    <dgm:pt modelId="{2AB0B737-6EB5-4E49-A78F-762E369A5ED6}" type="pres">
      <dgm:prSet presAssocID="{8BB8F59A-DC61-4502-AE8E-F79133BAF9B9}" presName="rect4" presStyleLbl="alignAcc1" presStyleIdx="3" presStyleCnt="4"/>
      <dgm:spPr/>
      <dgm:t>
        <a:bodyPr/>
        <a:lstStyle/>
        <a:p>
          <a:endParaRPr lang="en-US"/>
        </a:p>
      </dgm:t>
    </dgm:pt>
    <dgm:pt modelId="{84A83A0B-D56E-4945-9EC3-D79974B23D5A}" type="pres">
      <dgm:prSet presAssocID="{E31EF7D2-A242-43B0-91E4-93ED86E6064F}" presName="rect1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861DED-7DFA-43AA-ABFF-75B121287B04}" type="pres">
      <dgm:prSet presAssocID="{0D1BEC0F-CEE5-4448-A6CC-DD2E019060C6}" presName="rect2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D8BBF2A-50B2-4AB7-B236-F41AEB1EF2BE}" type="pres">
      <dgm:prSet presAssocID="{5BF90F2B-B9F9-4406-9A5D-BB3C1DF2039A}" presName="rect3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2BA710-C171-440F-9CD5-410A91FDA0AB}" type="pres">
      <dgm:prSet presAssocID="{8BB8F59A-DC61-4502-AE8E-F79133BAF9B9}" presName="rect4ParTxNoCh" presStyleLbl="alignAcc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FC899BF-7E0E-46EC-835C-7A4B2862AE27}" srcId="{1F61EDE3-5DC0-4721-B0A9-340F8AB0BAB2}" destId="{E31EF7D2-A242-43B0-91E4-93ED86E6064F}" srcOrd="0" destOrd="0" parTransId="{922555C6-C2BE-4B3A-B06F-2C71BAE34C92}" sibTransId="{17F44415-C162-4E14-9C97-3926B742D41F}"/>
    <dgm:cxn modelId="{6D8CAA94-F692-4C5D-97F0-3BBEE232EDA3}" type="presOf" srcId="{E31EF7D2-A242-43B0-91E4-93ED86E6064F}" destId="{41719D06-1E62-4FD6-8522-A689FDCCA784}" srcOrd="0" destOrd="0" presId="urn:microsoft.com/office/officeart/2005/8/layout/target3"/>
    <dgm:cxn modelId="{1DA19D56-3979-4B1C-8B45-18923B27061B}" type="presOf" srcId="{5BF90F2B-B9F9-4406-9A5D-BB3C1DF2039A}" destId="{DD8BBF2A-50B2-4AB7-B236-F41AEB1EF2BE}" srcOrd="1" destOrd="0" presId="urn:microsoft.com/office/officeart/2005/8/layout/target3"/>
    <dgm:cxn modelId="{24C833CD-458C-4175-85FC-74FAAB548BBD}" srcId="{1F61EDE3-5DC0-4721-B0A9-340F8AB0BAB2}" destId="{5BF90F2B-B9F9-4406-9A5D-BB3C1DF2039A}" srcOrd="2" destOrd="0" parTransId="{6E7459DE-CEED-4703-8530-F920DEDCE9D6}" sibTransId="{B33D9ED0-107D-440E-92FB-853F74079278}"/>
    <dgm:cxn modelId="{99DB4443-9F9D-4690-A44C-E18DFA5D5F3C}" type="presOf" srcId="{E31EF7D2-A242-43B0-91E4-93ED86E6064F}" destId="{84A83A0B-D56E-4945-9EC3-D79974B23D5A}" srcOrd="1" destOrd="0" presId="urn:microsoft.com/office/officeart/2005/8/layout/target3"/>
    <dgm:cxn modelId="{F226B993-B9ED-4E38-A4CC-08CD17857479}" type="presOf" srcId="{0D1BEC0F-CEE5-4448-A6CC-DD2E019060C6}" destId="{AB861DED-7DFA-43AA-ABFF-75B121287B04}" srcOrd="1" destOrd="0" presId="urn:microsoft.com/office/officeart/2005/8/layout/target3"/>
    <dgm:cxn modelId="{4D79F5A9-033C-4108-A6F8-5C39F5517EB4}" type="presOf" srcId="{8BB8F59A-DC61-4502-AE8E-F79133BAF9B9}" destId="{FC2BA710-C171-440F-9CD5-410A91FDA0AB}" srcOrd="1" destOrd="0" presId="urn:microsoft.com/office/officeart/2005/8/layout/target3"/>
    <dgm:cxn modelId="{AC2B1A78-3E68-4A1B-9232-4B97CA377812}" srcId="{1F61EDE3-5DC0-4721-B0A9-340F8AB0BAB2}" destId="{0D1BEC0F-CEE5-4448-A6CC-DD2E019060C6}" srcOrd="1" destOrd="0" parTransId="{6C9EEA63-8D0C-4630-8A55-E056FBC9EF32}" sibTransId="{32547B8A-EEC0-4851-8CD2-C3F7497BB5F4}"/>
    <dgm:cxn modelId="{D321164E-379F-4917-9D1B-FC57202BF1C8}" type="presOf" srcId="{5BF90F2B-B9F9-4406-9A5D-BB3C1DF2039A}" destId="{66A5A3EC-3C26-4B69-9A5B-10B1C6D35B3C}" srcOrd="0" destOrd="0" presId="urn:microsoft.com/office/officeart/2005/8/layout/target3"/>
    <dgm:cxn modelId="{29268985-8B7D-4D9D-B735-6C7C79747C16}" type="presOf" srcId="{1F61EDE3-5DC0-4721-B0A9-340F8AB0BAB2}" destId="{EF47D5CE-2C6B-49DC-962E-B1A2F1451796}" srcOrd="0" destOrd="0" presId="urn:microsoft.com/office/officeart/2005/8/layout/target3"/>
    <dgm:cxn modelId="{86D110FD-5F01-4F28-AE9D-8B4D3F304112}" type="presOf" srcId="{8BB8F59A-DC61-4502-AE8E-F79133BAF9B9}" destId="{2AB0B737-6EB5-4E49-A78F-762E369A5ED6}" srcOrd="0" destOrd="0" presId="urn:microsoft.com/office/officeart/2005/8/layout/target3"/>
    <dgm:cxn modelId="{F7411E82-D442-4C40-BAFF-98F7DCE4F5CC}" type="presOf" srcId="{0D1BEC0F-CEE5-4448-A6CC-DD2E019060C6}" destId="{3E6F9B3A-67B5-45DB-AE55-38D7689D45DB}" srcOrd="0" destOrd="0" presId="urn:microsoft.com/office/officeart/2005/8/layout/target3"/>
    <dgm:cxn modelId="{194C6809-3E1C-46CE-B696-3A09DA47C96C}" srcId="{1F61EDE3-5DC0-4721-B0A9-340F8AB0BAB2}" destId="{8BB8F59A-DC61-4502-AE8E-F79133BAF9B9}" srcOrd="3" destOrd="0" parTransId="{7651886B-19D9-49A0-86EC-80EFBB2BBCFC}" sibTransId="{C8BF598E-4DD3-48D7-84D1-6B35BA2A36B7}"/>
    <dgm:cxn modelId="{B3A030C5-6D79-440C-8548-3E8A8689E7D1}" type="presParOf" srcId="{EF47D5CE-2C6B-49DC-962E-B1A2F1451796}" destId="{28CA66DE-0ABE-4DAA-907C-BF603D6A72CD}" srcOrd="0" destOrd="0" presId="urn:microsoft.com/office/officeart/2005/8/layout/target3"/>
    <dgm:cxn modelId="{0CC43438-BBA9-4F66-A320-C5841F0461BC}" type="presParOf" srcId="{EF47D5CE-2C6B-49DC-962E-B1A2F1451796}" destId="{B0044C97-FA58-4962-BF30-BF9C4A04212A}" srcOrd="1" destOrd="0" presId="urn:microsoft.com/office/officeart/2005/8/layout/target3"/>
    <dgm:cxn modelId="{D916A0B6-5994-49E1-9F9F-A7E8C2E6641B}" type="presParOf" srcId="{EF47D5CE-2C6B-49DC-962E-B1A2F1451796}" destId="{41719D06-1E62-4FD6-8522-A689FDCCA784}" srcOrd="2" destOrd="0" presId="urn:microsoft.com/office/officeart/2005/8/layout/target3"/>
    <dgm:cxn modelId="{9446020E-E308-4725-B1AB-BDBEF5D26140}" type="presParOf" srcId="{EF47D5CE-2C6B-49DC-962E-B1A2F1451796}" destId="{5B34FCD3-6995-4733-A7BD-BCB2AFEE2D83}" srcOrd="3" destOrd="0" presId="urn:microsoft.com/office/officeart/2005/8/layout/target3"/>
    <dgm:cxn modelId="{07783231-48E2-4FC4-8B45-FFBFB896DDF0}" type="presParOf" srcId="{EF47D5CE-2C6B-49DC-962E-B1A2F1451796}" destId="{C4A90F3E-6A30-4D7A-97DF-761584C5AA57}" srcOrd="4" destOrd="0" presId="urn:microsoft.com/office/officeart/2005/8/layout/target3"/>
    <dgm:cxn modelId="{46AF8C11-087F-45B8-96CF-E0C023444B08}" type="presParOf" srcId="{EF47D5CE-2C6B-49DC-962E-B1A2F1451796}" destId="{3E6F9B3A-67B5-45DB-AE55-38D7689D45DB}" srcOrd="5" destOrd="0" presId="urn:microsoft.com/office/officeart/2005/8/layout/target3"/>
    <dgm:cxn modelId="{717B485C-FF60-4FA9-99CB-153080C15764}" type="presParOf" srcId="{EF47D5CE-2C6B-49DC-962E-B1A2F1451796}" destId="{42DD67E2-BF64-4725-9223-381F06B5E328}" srcOrd="6" destOrd="0" presId="urn:microsoft.com/office/officeart/2005/8/layout/target3"/>
    <dgm:cxn modelId="{831D11D8-566C-4B41-9F34-A848C5C09388}" type="presParOf" srcId="{EF47D5CE-2C6B-49DC-962E-B1A2F1451796}" destId="{D9D18567-675A-4D04-BC09-865C3AC90427}" srcOrd="7" destOrd="0" presId="urn:microsoft.com/office/officeart/2005/8/layout/target3"/>
    <dgm:cxn modelId="{C1509BD2-BC99-46A9-AE3E-481D46CBF5B2}" type="presParOf" srcId="{EF47D5CE-2C6B-49DC-962E-B1A2F1451796}" destId="{66A5A3EC-3C26-4B69-9A5B-10B1C6D35B3C}" srcOrd="8" destOrd="0" presId="urn:microsoft.com/office/officeart/2005/8/layout/target3"/>
    <dgm:cxn modelId="{4D3209CF-7AF7-4938-87FD-1FD51F17ABF1}" type="presParOf" srcId="{EF47D5CE-2C6B-49DC-962E-B1A2F1451796}" destId="{44C0C5AF-A14A-4AB7-9043-758160BD8937}" srcOrd="9" destOrd="0" presId="urn:microsoft.com/office/officeart/2005/8/layout/target3"/>
    <dgm:cxn modelId="{F7FA8230-23F3-4F72-8B75-AC322488C33A}" type="presParOf" srcId="{EF47D5CE-2C6B-49DC-962E-B1A2F1451796}" destId="{37EFEF4F-0BE2-4CC2-9E26-5E0F1A87B2C7}" srcOrd="10" destOrd="0" presId="urn:microsoft.com/office/officeart/2005/8/layout/target3"/>
    <dgm:cxn modelId="{CE33E437-C994-45D8-8DF9-694B725B7657}" type="presParOf" srcId="{EF47D5CE-2C6B-49DC-962E-B1A2F1451796}" destId="{2AB0B737-6EB5-4E49-A78F-762E369A5ED6}" srcOrd="11" destOrd="0" presId="urn:microsoft.com/office/officeart/2005/8/layout/target3"/>
    <dgm:cxn modelId="{CDE467E8-472A-419B-BD3A-70836830F115}" type="presParOf" srcId="{EF47D5CE-2C6B-49DC-962E-B1A2F1451796}" destId="{84A83A0B-D56E-4945-9EC3-D79974B23D5A}" srcOrd="12" destOrd="0" presId="urn:microsoft.com/office/officeart/2005/8/layout/target3"/>
    <dgm:cxn modelId="{070B8310-AD9E-4702-91D0-36E82D3DDBA8}" type="presParOf" srcId="{EF47D5CE-2C6B-49DC-962E-B1A2F1451796}" destId="{AB861DED-7DFA-43AA-ABFF-75B121287B04}" srcOrd="13" destOrd="0" presId="urn:microsoft.com/office/officeart/2005/8/layout/target3"/>
    <dgm:cxn modelId="{8B92E9EA-99F0-401F-A33E-C71722CD70D3}" type="presParOf" srcId="{EF47D5CE-2C6B-49DC-962E-B1A2F1451796}" destId="{DD8BBF2A-50B2-4AB7-B236-F41AEB1EF2BE}" srcOrd="14" destOrd="0" presId="urn:microsoft.com/office/officeart/2005/8/layout/target3"/>
    <dgm:cxn modelId="{568C32CA-A285-488E-A6DF-0C5C6E028289}" type="presParOf" srcId="{EF47D5CE-2C6B-49DC-962E-B1A2F1451796}" destId="{FC2BA710-C171-440F-9CD5-410A91FDA0AB}" srcOrd="15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5D4798-D418-4923-8503-119AE2BA2CA0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1155117-256C-42D5-A3A9-2804AC364CFE}">
      <dgm:prSet phldrT="[Text]" custT="1"/>
      <dgm:spPr/>
      <dgm:t>
        <a:bodyPr/>
        <a:lstStyle/>
        <a:p>
          <a:r>
            <a:rPr lang="cs-CZ" sz="2400" dirty="0" smtClean="0"/>
            <a:t>Velká deprese ve </a:t>
          </a:r>
          <a:r>
            <a:rPr lang="cs-CZ" sz="2400" dirty="0" err="1" smtClean="0"/>
            <a:t>30.letech</a:t>
          </a:r>
          <a:r>
            <a:rPr lang="cs-CZ" sz="2400" dirty="0" smtClean="0"/>
            <a:t> 20. stol. </a:t>
          </a:r>
          <a:endParaRPr lang="en-US" sz="2400" dirty="0"/>
        </a:p>
      </dgm:t>
    </dgm:pt>
    <dgm:pt modelId="{9010F01F-091E-4446-AA62-141F3762D88F}" type="parTrans" cxnId="{5FD3AE21-9C30-4A49-AE3B-ADF1B4744428}">
      <dgm:prSet/>
      <dgm:spPr/>
      <dgm:t>
        <a:bodyPr/>
        <a:lstStyle/>
        <a:p>
          <a:endParaRPr lang="en-US" sz="3200"/>
        </a:p>
      </dgm:t>
    </dgm:pt>
    <dgm:pt modelId="{DEE5E347-9D58-411D-B6EB-626597636E29}" type="sibTrans" cxnId="{5FD3AE21-9C30-4A49-AE3B-ADF1B4744428}">
      <dgm:prSet/>
      <dgm:spPr/>
      <dgm:t>
        <a:bodyPr/>
        <a:lstStyle/>
        <a:p>
          <a:endParaRPr lang="en-US" sz="3200"/>
        </a:p>
      </dgm:t>
    </dgm:pt>
    <dgm:pt modelId="{008A12DB-2F45-45CD-93A3-0CA7004265A5}">
      <dgm:prSet phldrT="[Text]" custT="1"/>
      <dgm:spPr/>
      <dgm:t>
        <a:bodyPr/>
        <a:lstStyle/>
        <a:p>
          <a:r>
            <a:rPr lang="cs-CZ" sz="2400" dirty="0" smtClean="0"/>
            <a:t>Japonsko – splasknutí akciové bubliny </a:t>
          </a:r>
          <a:endParaRPr lang="en-US" sz="2400" dirty="0"/>
        </a:p>
      </dgm:t>
    </dgm:pt>
    <dgm:pt modelId="{E27B558B-0B6A-4E7B-93E2-D90DC32234A7}" type="parTrans" cxnId="{CD0F8E56-DDB0-4B15-9CEB-A43D4D0245E3}">
      <dgm:prSet/>
      <dgm:spPr/>
      <dgm:t>
        <a:bodyPr/>
        <a:lstStyle/>
        <a:p>
          <a:endParaRPr lang="en-US" sz="3200"/>
        </a:p>
      </dgm:t>
    </dgm:pt>
    <dgm:pt modelId="{7E1EA715-E9C1-4FEC-8E5A-E35CBF27B68F}" type="sibTrans" cxnId="{CD0F8E56-DDB0-4B15-9CEB-A43D4D0245E3}">
      <dgm:prSet/>
      <dgm:spPr/>
      <dgm:t>
        <a:bodyPr/>
        <a:lstStyle/>
        <a:p>
          <a:endParaRPr lang="en-US" sz="3200"/>
        </a:p>
      </dgm:t>
    </dgm:pt>
    <dgm:pt modelId="{93B05AE5-88A0-4F89-938C-92B9FA75DF13}">
      <dgm:prSet phldrT="[Text]" custT="1"/>
      <dgm:spPr/>
      <dgm:t>
        <a:bodyPr/>
        <a:lstStyle/>
        <a:p>
          <a:endParaRPr lang="en-US" sz="2400" dirty="0"/>
        </a:p>
      </dgm:t>
    </dgm:pt>
    <dgm:pt modelId="{BDA5933E-54EC-4EE6-A591-7728D567BAD8}" type="parTrans" cxnId="{957178A2-1068-49DE-AC00-4358E2692233}">
      <dgm:prSet/>
      <dgm:spPr/>
      <dgm:t>
        <a:bodyPr/>
        <a:lstStyle/>
        <a:p>
          <a:endParaRPr lang="en-US" sz="3200"/>
        </a:p>
      </dgm:t>
    </dgm:pt>
    <dgm:pt modelId="{1D40230D-2BD3-40EE-B7EC-4FBAC9E65AC0}" type="sibTrans" cxnId="{957178A2-1068-49DE-AC00-4358E2692233}">
      <dgm:prSet/>
      <dgm:spPr/>
      <dgm:t>
        <a:bodyPr/>
        <a:lstStyle/>
        <a:p>
          <a:endParaRPr lang="en-US" sz="3200"/>
        </a:p>
      </dgm:t>
    </dgm:pt>
    <dgm:pt modelId="{9A6552E9-2FCC-47DA-9069-8427472A21D9}">
      <dgm:prSet phldrT="[Text]" custT="1"/>
      <dgm:spPr/>
      <dgm:t>
        <a:bodyPr/>
        <a:lstStyle/>
        <a:p>
          <a:r>
            <a:rPr lang="cs-CZ" sz="2400" dirty="0" smtClean="0"/>
            <a:t>Irsko, Španělsko, Portugalsko, Kypr, Řecko – krize eurozóny 2009-</a:t>
          </a:r>
          <a:r>
            <a:rPr lang="cs-CZ" sz="2400" dirty="0" err="1" smtClean="0"/>
            <a:t>20XX</a:t>
          </a:r>
          <a:endParaRPr lang="en-US" sz="2400" dirty="0"/>
        </a:p>
      </dgm:t>
    </dgm:pt>
    <dgm:pt modelId="{454F38B5-24AA-4875-BA51-543F3BDFE388}" type="parTrans" cxnId="{55449567-CC9A-453E-95B4-F93DC4DB6546}">
      <dgm:prSet/>
      <dgm:spPr/>
      <dgm:t>
        <a:bodyPr/>
        <a:lstStyle/>
        <a:p>
          <a:endParaRPr lang="en-US" sz="3200"/>
        </a:p>
      </dgm:t>
    </dgm:pt>
    <dgm:pt modelId="{681626EC-FE4E-455F-9741-37D9491A6424}" type="sibTrans" cxnId="{55449567-CC9A-453E-95B4-F93DC4DB6546}">
      <dgm:prSet/>
      <dgm:spPr/>
      <dgm:t>
        <a:bodyPr/>
        <a:lstStyle/>
        <a:p>
          <a:endParaRPr lang="en-US" sz="3200"/>
        </a:p>
      </dgm:t>
    </dgm:pt>
    <dgm:pt modelId="{3F16E0AE-2FD6-4B25-830E-C7063E4100F6}">
      <dgm:prSet phldrT="[Text]" custT="1"/>
      <dgm:spPr/>
      <dgm:t>
        <a:bodyPr/>
        <a:lstStyle/>
        <a:p>
          <a:r>
            <a:rPr lang="cs-CZ" sz="2400" dirty="0" err="1" smtClean="0"/>
            <a:t>Hong</a:t>
          </a:r>
          <a:r>
            <a:rPr lang="cs-CZ" sz="2400" dirty="0" smtClean="0"/>
            <a:t> Kong – dopad asijské finanční krize </a:t>
          </a:r>
          <a:r>
            <a:rPr lang="cs-CZ" sz="2400" dirty="0" err="1" smtClean="0"/>
            <a:t>90.léta</a:t>
          </a:r>
          <a:r>
            <a:rPr lang="cs-CZ" sz="2400" dirty="0" smtClean="0"/>
            <a:t> </a:t>
          </a:r>
          <a:r>
            <a:rPr lang="cs-CZ" sz="2400" dirty="0" err="1" smtClean="0"/>
            <a:t>20.století</a:t>
          </a:r>
          <a:endParaRPr lang="en-US" sz="2400" dirty="0"/>
        </a:p>
      </dgm:t>
    </dgm:pt>
    <dgm:pt modelId="{0D66904C-F1EE-4FE5-A436-84CFE596E5E5}" type="sibTrans" cxnId="{F867037A-9CFB-4A77-AC35-4BF42AB95A23}">
      <dgm:prSet/>
      <dgm:spPr/>
      <dgm:t>
        <a:bodyPr/>
        <a:lstStyle/>
        <a:p>
          <a:endParaRPr lang="en-US" sz="3200"/>
        </a:p>
      </dgm:t>
    </dgm:pt>
    <dgm:pt modelId="{7F08BE5E-F9E0-4BDA-98D6-94F07405E1A9}" type="parTrans" cxnId="{F867037A-9CFB-4A77-AC35-4BF42AB95A23}">
      <dgm:prSet/>
      <dgm:spPr/>
      <dgm:t>
        <a:bodyPr/>
        <a:lstStyle/>
        <a:p>
          <a:endParaRPr lang="en-US" sz="3200"/>
        </a:p>
      </dgm:t>
    </dgm:pt>
    <dgm:pt modelId="{5D102F95-F030-4105-A6C1-A5B9C6F0C504}">
      <dgm:prSet phldrT="[Text]" custT="1"/>
      <dgm:spPr/>
      <dgm:t>
        <a:bodyPr/>
        <a:lstStyle/>
        <a:p>
          <a:r>
            <a:rPr lang="cs-CZ" sz="2400" dirty="0" smtClean="0"/>
            <a:t>USA v 19. století</a:t>
          </a:r>
          <a:endParaRPr lang="en-US" sz="2400" dirty="0"/>
        </a:p>
      </dgm:t>
    </dgm:pt>
    <dgm:pt modelId="{EA8FD5A3-616D-4411-8EE3-EA49594C24AA}" type="sibTrans" cxnId="{F76DBE35-9745-42B5-82A6-0E9DBDE9C7FB}">
      <dgm:prSet/>
      <dgm:spPr/>
      <dgm:t>
        <a:bodyPr/>
        <a:lstStyle/>
        <a:p>
          <a:endParaRPr lang="en-US" sz="3200"/>
        </a:p>
      </dgm:t>
    </dgm:pt>
    <dgm:pt modelId="{5ECD20B9-14B9-4D52-90CF-38B6635FD6CF}" type="parTrans" cxnId="{F76DBE35-9745-42B5-82A6-0E9DBDE9C7FB}">
      <dgm:prSet/>
      <dgm:spPr/>
      <dgm:t>
        <a:bodyPr/>
        <a:lstStyle/>
        <a:p>
          <a:endParaRPr lang="en-US" sz="3200"/>
        </a:p>
      </dgm:t>
    </dgm:pt>
    <dgm:pt modelId="{23DC9E65-4449-4ADC-880B-A16F8F5653CB}">
      <dgm:prSet phldrT="[Text]" custT="1"/>
      <dgm:spPr/>
      <dgm:t>
        <a:bodyPr/>
        <a:lstStyle/>
        <a:p>
          <a:r>
            <a:rPr lang="cs-CZ" sz="2400" dirty="0" smtClean="0"/>
            <a:t>Lotyšsko – řízená deflace 2008-2010</a:t>
          </a:r>
          <a:endParaRPr lang="en-US" sz="2400" dirty="0"/>
        </a:p>
      </dgm:t>
    </dgm:pt>
    <dgm:pt modelId="{1054BD1E-13C5-4FEF-BAE6-61528675F2E1}" type="sibTrans" cxnId="{AD24FA23-72A5-4819-8228-1DEC599CB63C}">
      <dgm:prSet/>
      <dgm:spPr/>
      <dgm:t>
        <a:bodyPr/>
        <a:lstStyle/>
        <a:p>
          <a:endParaRPr lang="en-US" sz="3200"/>
        </a:p>
      </dgm:t>
    </dgm:pt>
    <dgm:pt modelId="{E0E9F067-3823-4229-9829-EEE975B4E7A0}" type="parTrans" cxnId="{AD24FA23-72A5-4819-8228-1DEC599CB63C}">
      <dgm:prSet/>
      <dgm:spPr/>
      <dgm:t>
        <a:bodyPr/>
        <a:lstStyle/>
        <a:p>
          <a:endParaRPr lang="en-US" sz="3200"/>
        </a:p>
      </dgm:t>
    </dgm:pt>
    <dgm:pt modelId="{1BA0D5C7-2550-48F4-B27F-9D569F8C2260}" type="pres">
      <dgm:prSet presAssocID="{885D4798-D418-4923-8503-119AE2BA2CA0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en-US"/>
        </a:p>
      </dgm:t>
    </dgm:pt>
    <dgm:pt modelId="{1C20E81A-7F89-4C07-8389-D0F8C130634A}" type="pres">
      <dgm:prSet presAssocID="{5D102F95-F030-4105-A6C1-A5B9C6F0C504}" presName="parenttextcomposite" presStyleCnt="0"/>
      <dgm:spPr/>
    </dgm:pt>
    <dgm:pt modelId="{76719273-4878-4931-B60E-305399EEF65C}" type="pres">
      <dgm:prSet presAssocID="{5D102F95-F030-4105-A6C1-A5B9C6F0C504}" presName="parenttext" presStyleLbl="revTx" presStyleIdx="0" presStyleCnt="4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455E60-1D3A-4B0D-885B-B068CB791F7E}" type="pres">
      <dgm:prSet presAssocID="{5D102F95-F030-4105-A6C1-A5B9C6F0C504}" presName="composite" presStyleCnt="0"/>
      <dgm:spPr/>
    </dgm:pt>
    <dgm:pt modelId="{772F068E-8142-4774-850F-316C93C116D0}" type="pres">
      <dgm:prSet presAssocID="{5D102F95-F030-4105-A6C1-A5B9C6F0C504}" presName="chevron1" presStyleLbl="alignNode1" presStyleIdx="0" presStyleCnt="28"/>
      <dgm:spPr/>
    </dgm:pt>
    <dgm:pt modelId="{EBF894F0-9F9D-4D8E-9677-9756D56E3C08}" type="pres">
      <dgm:prSet presAssocID="{5D102F95-F030-4105-A6C1-A5B9C6F0C504}" presName="chevron2" presStyleLbl="alignNode1" presStyleIdx="1" presStyleCnt="28"/>
      <dgm:spPr/>
    </dgm:pt>
    <dgm:pt modelId="{09EEBA69-9838-44F3-B439-4A8BBEE135D9}" type="pres">
      <dgm:prSet presAssocID="{5D102F95-F030-4105-A6C1-A5B9C6F0C504}" presName="chevron3" presStyleLbl="alignNode1" presStyleIdx="2" presStyleCnt="28"/>
      <dgm:spPr/>
    </dgm:pt>
    <dgm:pt modelId="{B211CD69-2E7D-4AA4-ABDB-F9B14F3D0D33}" type="pres">
      <dgm:prSet presAssocID="{5D102F95-F030-4105-A6C1-A5B9C6F0C504}" presName="chevron4" presStyleLbl="alignNode1" presStyleIdx="3" presStyleCnt="28"/>
      <dgm:spPr/>
    </dgm:pt>
    <dgm:pt modelId="{1ED72B47-71B8-43F1-9E92-1FAE8E19DC34}" type="pres">
      <dgm:prSet presAssocID="{5D102F95-F030-4105-A6C1-A5B9C6F0C504}" presName="chevron5" presStyleLbl="alignNode1" presStyleIdx="4" presStyleCnt="28"/>
      <dgm:spPr/>
    </dgm:pt>
    <dgm:pt modelId="{E283170A-D388-404A-8A95-FE4B3DAB9B45}" type="pres">
      <dgm:prSet presAssocID="{5D102F95-F030-4105-A6C1-A5B9C6F0C504}" presName="chevron6" presStyleLbl="alignNode1" presStyleIdx="5" presStyleCnt="28"/>
      <dgm:spPr/>
    </dgm:pt>
    <dgm:pt modelId="{941E9326-7322-4C32-AA07-85BD2372E361}" type="pres">
      <dgm:prSet presAssocID="{5D102F95-F030-4105-A6C1-A5B9C6F0C504}" presName="chevron7" presStyleLbl="alignNode1" presStyleIdx="6" presStyleCnt="28"/>
      <dgm:spPr/>
    </dgm:pt>
    <dgm:pt modelId="{562823F9-8160-4AE2-9060-3C8A74C90B70}" type="pres">
      <dgm:prSet presAssocID="{5D102F95-F030-4105-A6C1-A5B9C6F0C504}" presName="childtext" presStyleLbl="solidFgAcc1" presStyleIdx="0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D5CE98-760A-4670-8658-6165E9A1E210}" type="pres">
      <dgm:prSet presAssocID="{EA8FD5A3-616D-4411-8EE3-EA49594C24AA}" presName="sibTrans" presStyleCnt="0"/>
      <dgm:spPr/>
    </dgm:pt>
    <dgm:pt modelId="{21130304-1DB9-4951-A160-76694BEBD597}" type="pres">
      <dgm:prSet presAssocID="{3F16E0AE-2FD6-4B25-830E-C7063E4100F6}" presName="parenttextcomposite" presStyleCnt="0"/>
      <dgm:spPr/>
    </dgm:pt>
    <dgm:pt modelId="{240ED1B4-6500-4F73-9B81-DFB7BD079A4E}" type="pres">
      <dgm:prSet presAssocID="{3F16E0AE-2FD6-4B25-830E-C7063E4100F6}" presName="parenttext" presStyleLbl="revTx" presStyleIdx="1" presStyleCnt="4" custScaleX="165880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2B567B-EA6A-411A-939F-A7B6AAB46E43}" type="pres">
      <dgm:prSet presAssocID="{3F16E0AE-2FD6-4B25-830E-C7063E4100F6}" presName="composite" presStyleCnt="0"/>
      <dgm:spPr/>
    </dgm:pt>
    <dgm:pt modelId="{A47980B9-C136-4108-848E-7FC04A21BEB4}" type="pres">
      <dgm:prSet presAssocID="{3F16E0AE-2FD6-4B25-830E-C7063E4100F6}" presName="chevron1" presStyleLbl="alignNode1" presStyleIdx="7" presStyleCnt="28"/>
      <dgm:spPr/>
    </dgm:pt>
    <dgm:pt modelId="{2A25FC56-618E-496D-B720-EE6AFE1E3E92}" type="pres">
      <dgm:prSet presAssocID="{3F16E0AE-2FD6-4B25-830E-C7063E4100F6}" presName="chevron2" presStyleLbl="alignNode1" presStyleIdx="8" presStyleCnt="28"/>
      <dgm:spPr/>
    </dgm:pt>
    <dgm:pt modelId="{7F7E2C9D-425F-4BD8-8E9F-A9F7CB992732}" type="pres">
      <dgm:prSet presAssocID="{3F16E0AE-2FD6-4B25-830E-C7063E4100F6}" presName="chevron3" presStyleLbl="alignNode1" presStyleIdx="9" presStyleCnt="28"/>
      <dgm:spPr/>
    </dgm:pt>
    <dgm:pt modelId="{D0147054-B401-4824-A0A3-1406D92C63A0}" type="pres">
      <dgm:prSet presAssocID="{3F16E0AE-2FD6-4B25-830E-C7063E4100F6}" presName="chevron4" presStyleLbl="alignNode1" presStyleIdx="10" presStyleCnt="28"/>
      <dgm:spPr/>
    </dgm:pt>
    <dgm:pt modelId="{A35E9641-7323-4BA3-BD82-423BF5A7D5CC}" type="pres">
      <dgm:prSet presAssocID="{3F16E0AE-2FD6-4B25-830E-C7063E4100F6}" presName="chevron5" presStyleLbl="alignNode1" presStyleIdx="11" presStyleCnt="28"/>
      <dgm:spPr/>
    </dgm:pt>
    <dgm:pt modelId="{A8524479-C8BC-4521-826C-5F610A33B54C}" type="pres">
      <dgm:prSet presAssocID="{3F16E0AE-2FD6-4B25-830E-C7063E4100F6}" presName="chevron6" presStyleLbl="alignNode1" presStyleIdx="12" presStyleCnt="28"/>
      <dgm:spPr/>
    </dgm:pt>
    <dgm:pt modelId="{AFEA8272-EE41-4CB7-A63F-6DF634BFFB60}" type="pres">
      <dgm:prSet presAssocID="{3F16E0AE-2FD6-4B25-830E-C7063E4100F6}" presName="chevron7" presStyleLbl="alignNode1" presStyleIdx="13" presStyleCnt="28"/>
      <dgm:spPr/>
    </dgm:pt>
    <dgm:pt modelId="{5BFE55A9-7A01-4416-A3C3-2D75A24F1743}" type="pres">
      <dgm:prSet presAssocID="{3F16E0AE-2FD6-4B25-830E-C7063E4100F6}" presName="childtext" presStyleLbl="solidFgAcc1" presStyleIdx="1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48547E-6531-4433-825D-42AC63E1FF68}" type="pres">
      <dgm:prSet presAssocID="{0D66904C-F1EE-4FE5-A436-84CFE596E5E5}" presName="sibTrans" presStyleCnt="0"/>
      <dgm:spPr/>
    </dgm:pt>
    <dgm:pt modelId="{DBD66C8A-739F-40B4-A266-03AE1DCAFE1C}" type="pres">
      <dgm:prSet presAssocID="{93B05AE5-88A0-4F89-938C-92B9FA75DF13}" presName="parenttextcomposite" presStyleCnt="0"/>
      <dgm:spPr/>
    </dgm:pt>
    <dgm:pt modelId="{79EF589D-31F0-488F-ACBD-46A15366A593}" type="pres">
      <dgm:prSet presAssocID="{93B05AE5-88A0-4F89-938C-92B9FA75DF13}" presName="parenttext" presStyleLbl="revTx" presStyleIdx="2" presStyleCnt="4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DE5A54-94CA-470A-A51A-16E7E9CBB484}" type="pres">
      <dgm:prSet presAssocID="{93B05AE5-88A0-4F89-938C-92B9FA75DF13}" presName="composite" presStyleCnt="0"/>
      <dgm:spPr/>
    </dgm:pt>
    <dgm:pt modelId="{108DD212-79D6-4EAC-B0E0-E2FC236169E2}" type="pres">
      <dgm:prSet presAssocID="{93B05AE5-88A0-4F89-938C-92B9FA75DF13}" presName="chevron1" presStyleLbl="alignNode1" presStyleIdx="14" presStyleCnt="28"/>
      <dgm:spPr/>
    </dgm:pt>
    <dgm:pt modelId="{AE6ABFC6-64DD-4A96-BBC6-7C5738988B01}" type="pres">
      <dgm:prSet presAssocID="{93B05AE5-88A0-4F89-938C-92B9FA75DF13}" presName="chevron2" presStyleLbl="alignNode1" presStyleIdx="15" presStyleCnt="28"/>
      <dgm:spPr/>
    </dgm:pt>
    <dgm:pt modelId="{1B582CDB-A561-4706-944C-FDA1057D4F8E}" type="pres">
      <dgm:prSet presAssocID="{93B05AE5-88A0-4F89-938C-92B9FA75DF13}" presName="chevron3" presStyleLbl="alignNode1" presStyleIdx="16" presStyleCnt="28"/>
      <dgm:spPr/>
    </dgm:pt>
    <dgm:pt modelId="{6B05F000-3E83-44E7-B232-A9486E5A8A33}" type="pres">
      <dgm:prSet presAssocID="{93B05AE5-88A0-4F89-938C-92B9FA75DF13}" presName="chevron4" presStyleLbl="alignNode1" presStyleIdx="17" presStyleCnt="28"/>
      <dgm:spPr/>
    </dgm:pt>
    <dgm:pt modelId="{2C6F1CC5-AED4-47E4-AFE0-D67635A1683A}" type="pres">
      <dgm:prSet presAssocID="{93B05AE5-88A0-4F89-938C-92B9FA75DF13}" presName="chevron5" presStyleLbl="alignNode1" presStyleIdx="18" presStyleCnt="28"/>
      <dgm:spPr/>
    </dgm:pt>
    <dgm:pt modelId="{9BD7E2A4-C57D-4FE1-B517-5242B3E3A557}" type="pres">
      <dgm:prSet presAssocID="{93B05AE5-88A0-4F89-938C-92B9FA75DF13}" presName="chevron6" presStyleLbl="alignNode1" presStyleIdx="19" presStyleCnt="28"/>
      <dgm:spPr/>
    </dgm:pt>
    <dgm:pt modelId="{5111B595-05E4-4F20-853F-D6C02C41EEAB}" type="pres">
      <dgm:prSet presAssocID="{93B05AE5-88A0-4F89-938C-92B9FA75DF13}" presName="chevron7" presStyleLbl="alignNode1" presStyleIdx="20" presStyleCnt="28"/>
      <dgm:spPr/>
    </dgm:pt>
    <dgm:pt modelId="{456BAC4D-4367-477A-95FD-342E19FE8FE0}" type="pres">
      <dgm:prSet presAssocID="{93B05AE5-88A0-4F89-938C-92B9FA75DF13}" presName="childtext" presStyleLbl="solidFgAcc1" presStyleIdx="2" presStyleCnt="3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AA9766-8E89-4838-8FD1-914732983876}" type="pres">
      <dgm:prSet presAssocID="{1D40230D-2BD3-40EE-B7EC-4FBAC9E65AC0}" presName="sibTrans" presStyleCnt="0"/>
      <dgm:spPr/>
    </dgm:pt>
    <dgm:pt modelId="{E7127C06-EB83-4727-A918-709C04162180}" type="pres">
      <dgm:prSet presAssocID="{23DC9E65-4449-4ADC-880B-A16F8F5653CB}" presName="parenttextcomposite" presStyleCnt="0"/>
      <dgm:spPr/>
    </dgm:pt>
    <dgm:pt modelId="{71BFEDB9-BBF3-441D-8E41-495EF5CDE82F}" type="pres">
      <dgm:prSet presAssocID="{23DC9E65-4449-4ADC-880B-A16F8F5653CB}" presName="parenttext" presStyleLbl="revTx" presStyleIdx="3" presStyleCnt="4" custLinFactY="-130373" custLinFactNeighborX="1155" custLinFactNeighborY="-200000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3194021-AB95-4595-9032-F97CD5E846A4}" type="pres">
      <dgm:prSet presAssocID="{23DC9E65-4449-4ADC-880B-A16F8F5653CB}" presName="parallelogramComposite" presStyleCnt="0"/>
      <dgm:spPr/>
    </dgm:pt>
    <dgm:pt modelId="{DA178194-49E9-4891-84EF-F72D50380C36}" type="pres">
      <dgm:prSet presAssocID="{23DC9E65-4449-4ADC-880B-A16F8F5653CB}" presName="parallelogram1" presStyleLbl="alignNode1" presStyleIdx="21" presStyleCnt="28"/>
      <dgm:spPr/>
    </dgm:pt>
    <dgm:pt modelId="{6F54953E-D55D-4755-9385-457097E0897D}" type="pres">
      <dgm:prSet presAssocID="{23DC9E65-4449-4ADC-880B-A16F8F5653CB}" presName="parallelogram2" presStyleLbl="alignNode1" presStyleIdx="22" presStyleCnt="28"/>
      <dgm:spPr/>
    </dgm:pt>
    <dgm:pt modelId="{B2DB3345-9F9A-45AA-A244-2C78B3B5B0BC}" type="pres">
      <dgm:prSet presAssocID="{23DC9E65-4449-4ADC-880B-A16F8F5653CB}" presName="parallelogram3" presStyleLbl="alignNode1" presStyleIdx="23" presStyleCnt="28"/>
      <dgm:spPr/>
    </dgm:pt>
    <dgm:pt modelId="{EE5AF84F-33E3-432C-A59F-60F5D3CF2090}" type="pres">
      <dgm:prSet presAssocID="{23DC9E65-4449-4ADC-880B-A16F8F5653CB}" presName="parallelogram4" presStyleLbl="alignNode1" presStyleIdx="24" presStyleCnt="28"/>
      <dgm:spPr/>
    </dgm:pt>
    <dgm:pt modelId="{C8E1CBE5-8329-4526-8CD8-48805E1606A8}" type="pres">
      <dgm:prSet presAssocID="{23DC9E65-4449-4ADC-880B-A16F8F5653CB}" presName="parallelogram5" presStyleLbl="alignNode1" presStyleIdx="25" presStyleCnt="28"/>
      <dgm:spPr/>
    </dgm:pt>
    <dgm:pt modelId="{4FE6DEE8-E13B-4F24-A723-75900CEFED1F}" type="pres">
      <dgm:prSet presAssocID="{23DC9E65-4449-4ADC-880B-A16F8F5653CB}" presName="parallelogram6" presStyleLbl="alignNode1" presStyleIdx="26" presStyleCnt="28"/>
      <dgm:spPr/>
    </dgm:pt>
    <dgm:pt modelId="{8AA007D3-3EA1-4DFC-8B49-48CF1ED5175C}" type="pres">
      <dgm:prSet presAssocID="{23DC9E65-4449-4ADC-880B-A16F8F5653CB}" presName="parallelogram7" presStyleLbl="alignNode1" presStyleIdx="27" presStyleCnt="28"/>
      <dgm:spPr/>
    </dgm:pt>
  </dgm:ptLst>
  <dgm:cxnLst>
    <dgm:cxn modelId="{AD24FA23-72A5-4819-8228-1DEC599CB63C}" srcId="{885D4798-D418-4923-8503-119AE2BA2CA0}" destId="{23DC9E65-4449-4ADC-880B-A16F8F5653CB}" srcOrd="3" destOrd="0" parTransId="{E0E9F067-3823-4229-9829-EEE975B4E7A0}" sibTransId="{1054BD1E-13C5-4FEF-BAE6-61528675F2E1}"/>
    <dgm:cxn modelId="{44ABAA21-1A64-4F60-A694-521F1FE558E7}" type="presOf" srcId="{008A12DB-2F45-45CD-93A3-0CA7004265A5}" destId="{5BFE55A9-7A01-4416-A3C3-2D75A24F1743}" srcOrd="0" destOrd="0" presId="urn:microsoft.com/office/officeart/2008/layout/VerticalAccentList"/>
    <dgm:cxn modelId="{CD0F8E56-DDB0-4B15-9CEB-A43D4D0245E3}" srcId="{3F16E0AE-2FD6-4B25-830E-C7063E4100F6}" destId="{008A12DB-2F45-45CD-93A3-0CA7004265A5}" srcOrd="0" destOrd="0" parTransId="{E27B558B-0B6A-4E7B-93E2-D90DC32234A7}" sibTransId="{7E1EA715-E9C1-4FEC-8E5A-E35CBF27B68F}"/>
    <dgm:cxn modelId="{5FD3AE21-9C30-4A49-AE3B-ADF1B4744428}" srcId="{5D102F95-F030-4105-A6C1-A5B9C6F0C504}" destId="{C1155117-256C-42D5-A3A9-2804AC364CFE}" srcOrd="0" destOrd="0" parTransId="{9010F01F-091E-4446-AA62-141F3762D88F}" sibTransId="{DEE5E347-9D58-411D-B6EB-626597636E29}"/>
    <dgm:cxn modelId="{D5EBBEC8-D6F0-4DC4-854C-C7BD6ABA7DDF}" type="presOf" srcId="{23DC9E65-4449-4ADC-880B-A16F8F5653CB}" destId="{71BFEDB9-BBF3-441D-8E41-495EF5CDE82F}" srcOrd="0" destOrd="0" presId="urn:microsoft.com/office/officeart/2008/layout/VerticalAccentList"/>
    <dgm:cxn modelId="{97D61500-6E47-43BB-96AA-DF62BD7BD7A6}" type="presOf" srcId="{93B05AE5-88A0-4F89-938C-92B9FA75DF13}" destId="{79EF589D-31F0-488F-ACBD-46A15366A593}" srcOrd="0" destOrd="0" presId="urn:microsoft.com/office/officeart/2008/layout/VerticalAccentList"/>
    <dgm:cxn modelId="{F867037A-9CFB-4A77-AC35-4BF42AB95A23}" srcId="{885D4798-D418-4923-8503-119AE2BA2CA0}" destId="{3F16E0AE-2FD6-4B25-830E-C7063E4100F6}" srcOrd="1" destOrd="0" parTransId="{7F08BE5E-F9E0-4BDA-98D6-94F07405E1A9}" sibTransId="{0D66904C-F1EE-4FE5-A436-84CFE596E5E5}"/>
    <dgm:cxn modelId="{55449567-CC9A-453E-95B4-F93DC4DB6546}" srcId="{93B05AE5-88A0-4F89-938C-92B9FA75DF13}" destId="{9A6552E9-2FCC-47DA-9069-8427472A21D9}" srcOrd="0" destOrd="0" parTransId="{454F38B5-24AA-4875-BA51-543F3BDFE388}" sibTransId="{681626EC-FE4E-455F-9741-37D9491A6424}"/>
    <dgm:cxn modelId="{B0E17C79-54B6-43E6-AC28-EA2E4EC7212C}" type="presOf" srcId="{3F16E0AE-2FD6-4B25-830E-C7063E4100F6}" destId="{240ED1B4-6500-4F73-9B81-DFB7BD079A4E}" srcOrd="0" destOrd="0" presId="urn:microsoft.com/office/officeart/2008/layout/VerticalAccentList"/>
    <dgm:cxn modelId="{A2A33CEB-E2B7-4B8F-9D17-2DEA9402A23A}" type="presOf" srcId="{9A6552E9-2FCC-47DA-9069-8427472A21D9}" destId="{456BAC4D-4367-477A-95FD-342E19FE8FE0}" srcOrd="0" destOrd="0" presId="urn:microsoft.com/office/officeart/2008/layout/VerticalAccentList"/>
    <dgm:cxn modelId="{F76DBE35-9745-42B5-82A6-0E9DBDE9C7FB}" srcId="{885D4798-D418-4923-8503-119AE2BA2CA0}" destId="{5D102F95-F030-4105-A6C1-A5B9C6F0C504}" srcOrd="0" destOrd="0" parTransId="{5ECD20B9-14B9-4D52-90CF-38B6635FD6CF}" sibTransId="{EA8FD5A3-616D-4411-8EE3-EA49594C24AA}"/>
    <dgm:cxn modelId="{21E6C493-A54E-45F0-AD9A-E6AEE4CFFD14}" type="presOf" srcId="{5D102F95-F030-4105-A6C1-A5B9C6F0C504}" destId="{76719273-4878-4931-B60E-305399EEF65C}" srcOrd="0" destOrd="0" presId="urn:microsoft.com/office/officeart/2008/layout/VerticalAccentList"/>
    <dgm:cxn modelId="{F0F0A46B-7CB8-4696-9DF8-C7A72A3600F7}" type="presOf" srcId="{C1155117-256C-42D5-A3A9-2804AC364CFE}" destId="{562823F9-8160-4AE2-9060-3C8A74C90B70}" srcOrd="0" destOrd="0" presId="urn:microsoft.com/office/officeart/2008/layout/VerticalAccentList"/>
    <dgm:cxn modelId="{36977C32-03A7-4129-B807-38DAD20F975D}" type="presOf" srcId="{885D4798-D418-4923-8503-119AE2BA2CA0}" destId="{1BA0D5C7-2550-48F4-B27F-9D569F8C2260}" srcOrd="0" destOrd="0" presId="urn:microsoft.com/office/officeart/2008/layout/VerticalAccentList"/>
    <dgm:cxn modelId="{957178A2-1068-49DE-AC00-4358E2692233}" srcId="{885D4798-D418-4923-8503-119AE2BA2CA0}" destId="{93B05AE5-88A0-4F89-938C-92B9FA75DF13}" srcOrd="2" destOrd="0" parTransId="{BDA5933E-54EC-4EE6-A591-7728D567BAD8}" sibTransId="{1D40230D-2BD3-40EE-B7EC-4FBAC9E65AC0}"/>
    <dgm:cxn modelId="{19B8B9E7-00CB-45E4-B84D-FFBA118E1C44}" type="presParOf" srcId="{1BA0D5C7-2550-48F4-B27F-9D569F8C2260}" destId="{1C20E81A-7F89-4C07-8389-D0F8C130634A}" srcOrd="0" destOrd="0" presId="urn:microsoft.com/office/officeart/2008/layout/VerticalAccentList"/>
    <dgm:cxn modelId="{E48C9BFC-D233-4E8E-AAA3-FAB3A8C19D09}" type="presParOf" srcId="{1C20E81A-7F89-4C07-8389-D0F8C130634A}" destId="{76719273-4878-4931-B60E-305399EEF65C}" srcOrd="0" destOrd="0" presId="urn:microsoft.com/office/officeart/2008/layout/VerticalAccentList"/>
    <dgm:cxn modelId="{336C2C56-DCC0-4C35-ABFE-4276E59A6855}" type="presParOf" srcId="{1BA0D5C7-2550-48F4-B27F-9D569F8C2260}" destId="{52455E60-1D3A-4B0D-885B-B068CB791F7E}" srcOrd="1" destOrd="0" presId="urn:microsoft.com/office/officeart/2008/layout/VerticalAccentList"/>
    <dgm:cxn modelId="{EB07D0A3-3646-42B8-8555-509A41337E04}" type="presParOf" srcId="{52455E60-1D3A-4B0D-885B-B068CB791F7E}" destId="{772F068E-8142-4774-850F-316C93C116D0}" srcOrd="0" destOrd="0" presId="urn:microsoft.com/office/officeart/2008/layout/VerticalAccentList"/>
    <dgm:cxn modelId="{7E271E06-82EF-4449-AFCA-2C4BB5E3B3E0}" type="presParOf" srcId="{52455E60-1D3A-4B0D-885B-B068CB791F7E}" destId="{EBF894F0-9F9D-4D8E-9677-9756D56E3C08}" srcOrd="1" destOrd="0" presId="urn:microsoft.com/office/officeart/2008/layout/VerticalAccentList"/>
    <dgm:cxn modelId="{13413B46-56BD-4FD1-B295-A82FE13C6E8A}" type="presParOf" srcId="{52455E60-1D3A-4B0D-885B-B068CB791F7E}" destId="{09EEBA69-9838-44F3-B439-4A8BBEE135D9}" srcOrd="2" destOrd="0" presId="urn:microsoft.com/office/officeart/2008/layout/VerticalAccentList"/>
    <dgm:cxn modelId="{328539A7-BF35-496D-BA1D-167C50CD6D3F}" type="presParOf" srcId="{52455E60-1D3A-4B0D-885B-B068CB791F7E}" destId="{B211CD69-2E7D-4AA4-ABDB-F9B14F3D0D33}" srcOrd="3" destOrd="0" presId="urn:microsoft.com/office/officeart/2008/layout/VerticalAccentList"/>
    <dgm:cxn modelId="{1C2F4EAD-B0B5-4C62-9AF5-694E5793BB89}" type="presParOf" srcId="{52455E60-1D3A-4B0D-885B-B068CB791F7E}" destId="{1ED72B47-71B8-43F1-9E92-1FAE8E19DC34}" srcOrd="4" destOrd="0" presId="urn:microsoft.com/office/officeart/2008/layout/VerticalAccentList"/>
    <dgm:cxn modelId="{4ABF9FD5-2716-44EB-A240-89A38C843478}" type="presParOf" srcId="{52455E60-1D3A-4B0D-885B-B068CB791F7E}" destId="{E283170A-D388-404A-8A95-FE4B3DAB9B45}" srcOrd="5" destOrd="0" presId="urn:microsoft.com/office/officeart/2008/layout/VerticalAccentList"/>
    <dgm:cxn modelId="{FF3B6C68-6A77-47D1-BA7C-8F737F3CD9C8}" type="presParOf" srcId="{52455E60-1D3A-4B0D-885B-B068CB791F7E}" destId="{941E9326-7322-4C32-AA07-85BD2372E361}" srcOrd="6" destOrd="0" presId="urn:microsoft.com/office/officeart/2008/layout/VerticalAccentList"/>
    <dgm:cxn modelId="{6F502661-8795-432C-A8DA-7840D2B05EB7}" type="presParOf" srcId="{52455E60-1D3A-4B0D-885B-B068CB791F7E}" destId="{562823F9-8160-4AE2-9060-3C8A74C90B70}" srcOrd="7" destOrd="0" presId="urn:microsoft.com/office/officeart/2008/layout/VerticalAccentList"/>
    <dgm:cxn modelId="{0C925710-F168-4A6D-AE70-06DCDC726A94}" type="presParOf" srcId="{1BA0D5C7-2550-48F4-B27F-9D569F8C2260}" destId="{69D5CE98-760A-4670-8658-6165E9A1E210}" srcOrd="2" destOrd="0" presId="urn:microsoft.com/office/officeart/2008/layout/VerticalAccentList"/>
    <dgm:cxn modelId="{7130CF6D-E9A2-489C-A480-841D041BAE2D}" type="presParOf" srcId="{1BA0D5C7-2550-48F4-B27F-9D569F8C2260}" destId="{21130304-1DB9-4951-A160-76694BEBD597}" srcOrd="3" destOrd="0" presId="urn:microsoft.com/office/officeart/2008/layout/VerticalAccentList"/>
    <dgm:cxn modelId="{FE4560B5-8E1F-4427-9F1D-139FA47B8D1B}" type="presParOf" srcId="{21130304-1DB9-4951-A160-76694BEBD597}" destId="{240ED1B4-6500-4F73-9B81-DFB7BD079A4E}" srcOrd="0" destOrd="0" presId="urn:microsoft.com/office/officeart/2008/layout/VerticalAccentList"/>
    <dgm:cxn modelId="{80DDA77A-8880-4E96-AE77-E652EDAAB3C7}" type="presParOf" srcId="{1BA0D5C7-2550-48F4-B27F-9D569F8C2260}" destId="{FD2B567B-EA6A-411A-939F-A7B6AAB46E43}" srcOrd="4" destOrd="0" presId="urn:microsoft.com/office/officeart/2008/layout/VerticalAccentList"/>
    <dgm:cxn modelId="{3C5AFBC4-A2FB-44BF-8F98-B6D04FCA83CD}" type="presParOf" srcId="{FD2B567B-EA6A-411A-939F-A7B6AAB46E43}" destId="{A47980B9-C136-4108-848E-7FC04A21BEB4}" srcOrd="0" destOrd="0" presId="urn:microsoft.com/office/officeart/2008/layout/VerticalAccentList"/>
    <dgm:cxn modelId="{1D45E7D3-D4E6-42A5-AAF7-827F25024F6E}" type="presParOf" srcId="{FD2B567B-EA6A-411A-939F-A7B6AAB46E43}" destId="{2A25FC56-618E-496D-B720-EE6AFE1E3E92}" srcOrd="1" destOrd="0" presId="urn:microsoft.com/office/officeart/2008/layout/VerticalAccentList"/>
    <dgm:cxn modelId="{0CF116E1-803F-4EF3-849D-BF316D17D1A5}" type="presParOf" srcId="{FD2B567B-EA6A-411A-939F-A7B6AAB46E43}" destId="{7F7E2C9D-425F-4BD8-8E9F-A9F7CB992732}" srcOrd="2" destOrd="0" presId="urn:microsoft.com/office/officeart/2008/layout/VerticalAccentList"/>
    <dgm:cxn modelId="{C5BF00CD-5E98-4165-B2A2-D46B3A4F66C0}" type="presParOf" srcId="{FD2B567B-EA6A-411A-939F-A7B6AAB46E43}" destId="{D0147054-B401-4824-A0A3-1406D92C63A0}" srcOrd="3" destOrd="0" presId="urn:microsoft.com/office/officeart/2008/layout/VerticalAccentList"/>
    <dgm:cxn modelId="{5BB45DE3-355E-488E-B598-96CFBE29E6F1}" type="presParOf" srcId="{FD2B567B-EA6A-411A-939F-A7B6AAB46E43}" destId="{A35E9641-7323-4BA3-BD82-423BF5A7D5CC}" srcOrd="4" destOrd="0" presId="urn:microsoft.com/office/officeart/2008/layout/VerticalAccentList"/>
    <dgm:cxn modelId="{4D7D22B0-5179-4CFD-B3CC-AFF62C032191}" type="presParOf" srcId="{FD2B567B-EA6A-411A-939F-A7B6AAB46E43}" destId="{A8524479-C8BC-4521-826C-5F610A33B54C}" srcOrd="5" destOrd="0" presId="urn:microsoft.com/office/officeart/2008/layout/VerticalAccentList"/>
    <dgm:cxn modelId="{F67D9CFC-ECEF-465E-9536-43AAEDCBCA9C}" type="presParOf" srcId="{FD2B567B-EA6A-411A-939F-A7B6AAB46E43}" destId="{AFEA8272-EE41-4CB7-A63F-6DF634BFFB60}" srcOrd="6" destOrd="0" presId="urn:microsoft.com/office/officeart/2008/layout/VerticalAccentList"/>
    <dgm:cxn modelId="{9393D129-AC96-40FA-BFAD-D21E5218E50A}" type="presParOf" srcId="{FD2B567B-EA6A-411A-939F-A7B6AAB46E43}" destId="{5BFE55A9-7A01-4416-A3C3-2D75A24F1743}" srcOrd="7" destOrd="0" presId="urn:microsoft.com/office/officeart/2008/layout/VerticalAccentList"/>
    <dgm:cxn modelId="{B2B039F3-EA15-424D-BE33-6EBFCFE0FBCC}" type="presParOf" srcId="{1BA0D5C7-2550-48F4-B27F-9D569F8C2260}" destId="{6048547E-6531-4433-825D-42AC63E1FF68}" srcOrd="5" destOrd="0" presId="urn:microsoft.com/office/officeart/2008/layout/VerticalAccentList"/>
    <dgm:cxn modelId="{C8167CB2-66B3-4928-B294-6D552B4D7F2A}" type="presParOf" srcId="{1BA0D5C7-2550-48F4-B27F-9D569F8C2260}" destId="{DBD66C8A-739F-40B4-A266-03AE1DCAFE1C}" srcOrd="6" destOrd="0" presId="urn:microsoft.com/office/officeart/2008/layout/VerticalAccentList"/>
    <dgm:cxn modelId="{494DB4A0-BBF3-415A-96A8-55C091B27C21}" type="presParOf" srcId="{DBD66C8A-739F-40B4-A266-03AE1DCAFE1C}" destId="{79EF589D-31F0-488F-ACBD-46A15366A593}" srcOrd="0" destOrd="0" presId="urn:microsoft.com/office/officeart/2008/layout/VerticalAccentList"/>
    <dgm:cxn modelId="{8DC13E1A-BCC2-4E08-9BC9-7FDB4E321480}" type="presParOf" srcId="{1BA0D5C7-2550-48F4-B27F-9D569F8C2260}" destId="{BBDE5A54-94CA-470A-A51A-16E7E9CBB484}" srcOrd="7" destOrd="0" presId="urn:microsoft.com/office/officeart/2008/layout/VerticalAccentList"/>
    <dgm:cxn modelId="{C9D088AE-F548-4FA4-8D03-0EA6C12C650E}" type="presParOf" srcId="{BBDE5A54-94CA-470A-A51A-16E7E9CBB484}" destId="{108DD212-79D6-4EAC-B0E0-E2FC236169E2}" srcOrd="0" destOrd="0" presId="urn:microsoft.com/office/officeart/2008/layout/VerticalAccentList"/>
    <dgm:cxn modelId="{09219E8E-2FBE-44E7-A61F-8A681C9932CD}" type="presParOf" srcId="{BBDE5A54-94CA-470A-A51A-16E7E9CBB484}" destId="{AE6ABFC6-64DD-4A96-BBC6-7C5738988B01}" srcOrd="1" destOrd="0" presId="urn:microsoft.com/office/officeart/2008/layout/VerticalAccentList"/>
    <dgm:cxn modelId="{4CAE0E0C-7D0B-45F9-95F9-6B331840319D}" type="presParOf" srcId="{BBDE5A54-94CA-470A-A51A-16E7E9CBB484}" destId="{1B582CDB-A561-4706-944C-FDA1057D4F8E}" srcOrd="2" destOrd="0" presId="urn:microsoft.com/office/officeart/2008/layout/VerticalAccentList"/>
    <dgm:cxn modelId="{CA7E0606-BA53-4306-9543-98AEBC6E3858}" type="presParOf" srcId="{BBDE5A54-94CA-470A-A51A-16E7E9CBB484}" destId="{6B05F000-3E83-44E7-B232-A9486E5A8A33}" srcOrd="3" destOrd="0" presId="urn:microsoft.com/office/officeart/2008/layout/VerticalAccentList"/>
    <dgm:cxn modelId="{1644F271-0983-451D-A364-8ED51C287387}" type="presParOf" srcId="{BBDE5A54-94CA-470A-A51A-16E7E9CBB484}" destId="{2C6F1CC5-AED4-47E4-AFE0-D67635A1683A}" srcOrd="4" destOrd="0" presId="urn:microsoft.com/office/officeart/2008/layout/VerticalAccentList"/>
    <dgm:cxn modelId="{6B56D497-2449-4C24-94F4-9444A61ACB4C}" type="presParOf" srcId="{BBDE5A54-94CA-470A-A51A-16E7E9CBB484}" destId="{9BD7E2A4-C57D-4FE1-B517-5242B3E3A557}" srcOrd="5" destOrd="0" presId="urn:microsoft.com/office/officeart/2008/layout/VerticalAccentList"/>
    <dgm:cxn modelId="{27A36CBE-105D-4DA1-9A17-7093D339536C}" type="presParOf" srcId="{BBDE5A54-94CA-470A-A51A-16E7E9CBB484}" destId="{5111B595-05E4-4F20-853F-D6C02C41EEAB}" srcOrd="6" destOrd="0" presId="urn:microsoft.com/office/officeart/2008/layout/VerticalAccentList"/>
    <dgm:cxn modelId="{E0B56BCC-08DE-498E-9486-8804F7256457}" type="presParOf" srcId="{BBDE5A54-94CA-470A-A51A-16E7E9CBB484}" destId="{456BAC4D-4367-477A-95FD-342E19FE8FE0}" srcOrd="7" destOrd="0" presId="urn:microsoft.com/office/officeart/2008/layout/VerticalAccentList"/>
    <dgm:cxn modelId="{D1B34FF5-1C27-4127-B9CF-D2645F20694C}" type="presParOf" srcId="{1BA0D5C7-2550-48F4-B27F-9D569F8C2260}" destId="{53AA9766-8E89-4838-8FD1-914732983876}" srcOrd="8" destOrd="0" presId="urn:microsoft.com/office/officeart/2008/layout/VerticalAccentList"/>
    <dgm:cxn modelId="{E97C9EBA-5584-4599-B360-2D790C983AD4}" type="presParOf" srcId="{1BA0D5C7-2550-48F4-B27F-9D569F8C2260}" destId="{E7127C06-EB83-4727-A918-709C04162180}" srcOrd="9" destOrd="0" presId="urn:microsoft.com/office/officeart/2008/layout/VerticalAccentList"/>
    <dgm:cxn modelId="{9C1D1EBA-7AAD-48EE-8BB2-B6DAE040819E}" type="presParOf" srcId="{E7127C06-EB83-4727-A918-709C04162180}" destId="{71BFEDB9-BBF3-441D-8E41-495EF5CDE82F}" srcOrd="0" destOrd="0" presId="urn:microsoft.com/office/officeart/2008/layout/VerticalAccentList"/>
    <dgm:cxn modelId="{F1A76E43-0C86-4067-BE33-BAC5EC0EEFFB}" type="presParOf" srcId="{1BA0D5C7-2550-48F4-B27F-9D569F8C2260}" destId="{D3194021-AB95-4595-9032-F97CD5E846A4}" srcOrd="10" destOrd="0" presId="urn:microsoft.com/office/officeart/2008/layout/VerticalAccentList"/>
    <dgm:cxn modelId="{CCDDD934-75D0-4BBA-B1F7-68DFA0D470E2}" type="presParOf" srcId="{D3194021-AB95-4595-9032-F97CD5E846A4}" destId="{DA178194-49E9-4891-84EF-F72D50380C36}" srcOrd="0" destOrd="0" presId="urn:microsoft.com/office/officeart/2008/layout/VerticalAccentList"/>
    <dgm:cxn modelId="{4684DCE0-5E93-40CD-9C1A-E3F7AC8B1D1A}" type="presParOf" srcId="{D3194021-AB95-4595-9032-F97CD5E846A4}" destId="{6F54953E-D55D-4755-9385-457097E0897D}" srcOrd="1" destOrd="0" presId="urn:microsoft.com/office/officeart/2008/layout/VerticalAccentList"/>
    <dgm:cxn modelId="{321A66D0-6472-4A66-81A3-7D3E01C0F293}" type="presParOf" srcId="{D3194021-AB95-4595-9032-F97CD5E846A4}" destId="{B2DB3345-9F9A-45AA-A244-2C78B3B5B0BC}" srcOrd="2" destOrd="0" presId="urn:microsoft.com/office/officeart/2008/layout/VerticalAccentList"/>
    <dgm:cxn modelId="{84195FF8-C51C-48A6-8D90-3A37FD01D523}" type="presParOf" srcId="{D3194021-AB95-4595-9032-F97CD5E846A4}" destId="{EE5AF84F-33E3-432C-A59F-60F5D3CF2090}" srcOrd="3" destOrd="0" presId="urn:microsoft.com/office/officeart/2008/layout/VerticalAccentList"/>
    <dgm:cxn modelId="{9987067F-ABDC-4EE3-AB84-F5701214FA51}" type="presParOf" srcId="{D3194021-AB95-4595-9032-F97CD5E846A4}" destId="{C8E1CBE5-8329-4526-8CD8-48805E1606A8}" srcOrd="4" destOrd="0" presId="urn:microsoft.com/office/officeart/2008/layout/VerticalAccentList"/>
    <dgm:cxn modelId="{C5F5FE9D-5B7F-4397-B4FD-4D4523DB259F}" type="presParOf" srcId="{D3194021-AB95-4595-9032-F97CD5E846A4}" destId="{4FE6DEE8-E13B-4F24-A723-75900CEFED1F}" srcOrd="5" destOrd="0" presId="urn:microsoft.com/office/officeart/2008/layout/VerticalAccentList"/>
    <dgm:cxn modelId="{83C2626F-C08D-43FF-BA46-0EDC6B4C11FD}" type="presParOf" srcId="{D3194021-AB95-4595-9032-F97CD5E846A4}" destId="{8AA007D3-3EA1-4DFC-8B49-48CF1ED5175C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083CBC7-B721-425E-9CEB-D0974280CC09}" type="doc">
      <dgm:prSet loTypeId="urn:microsoft.com/office/officeart/2005/8/layout/cycle1" loCatId="cycle" qsTypeId="urn:microsoft.com/office/officeart/2005/8/quickstyle/simple5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600CC15C-4B38-459E-89F8-76F4BA075413}">
      <dgm:prSet phldrT="[Text]" custT="1"/>
      <dgm:spPr/>
      <dgm:t>
        <a:bodyPr/>
        <a:lstStyle/>
        <a:p>
          <a:r>
            <a:rPr lang="cs-CZ" sz="1800" dirty="0" smtClean="0"/>
            <a:t>Propad/pokles poptávky</a:t>
          </a:r>
          <a:endParaRPr lang="en-US" sz="1800" dirty="0"/>
        </a:p>
      </dgm:t>
    </dgm:pt>
    <dgm:pt modelId="{ED519757-606A-42FB-BEE4-0E2F6D77881E}" type="parTrans" cxnId="{0EC3FDE3-14A6-4529-A762-429E1F20D339}">
      <dgm:prSet/>
      <dgm:spPr/>
      <dgm:t>
        <a:bodyPr/>
        <a:lstStyle/>
        <a:p>
          <a:endParaRPr lang="en-US"/>
        </a:p>
      </dgm:t>
    </dgm:pt>
    <dgm:pt modelId="{03525185-271C-435A-9478-E0807E7B684D}" type="sibTrans" cxnId="{0EC3FDE3-14A6-4529-A762-429E1F20D339}">
      <dgm:prSet/>
      <dgm:spPr/>
      <dgm:t>
        <a:bodyPr/>
        <a:lstStyle/>
        <a:p>
          <a:endParaRPr lang="en-US"/>
        </a:p>
      </dgm:t>
    </dgm:pt>
    <dgm:pt modelId="{E10CF675-523D-4DB2-9DBC-D8993408BBC3}">
      <dgm:prSet phldrT="[Text]" custT="1"/>
      <dgm:spPr/>
      <dgm:t>
        <a:bodyPr/>
        <a:lstStyle/>
        <a:p>
          <a:r>
            <a:rPr lang="cs-CZ" sz="1800" dirty="0" smtClean="0"/>
            <a:t>Pokles produkce, investic a růst nezaměstnanosti</a:t>
          </a:r>
          <a:endParaRPr lang="en-US" sz="1800" dirty="0"/>
        </a:p>
      </dgm:t>
    </dgm:pt>
    <dgm:pt modelId="{DDFEAB75-EA66-4EEE-8BEE-F438CE041DC8}" type="parTrans" cxnId="{35D9859F-52FC-4A4E-8F98-0969DED1C506}">
      <dgm:prSet/>
      <dgm:spPr/>
      <dgm:t>
        <a:bodyPr/>
        <a:lstStyle/>
        <a:p>
          <a:endParaRPr lang="en-US"/>
        </a:p>
      </dgm:t>
    </dgm:pt>
    <dgm:pt modelId="{0F6DDAFE-0F4D-4EF1-BD26-B5689C53F71F}" type="sibTrans" cxnId="{35D9859F-52FC-4A4E-8F98-0969DED1C506}">
      <dgm:prSet/>
      <dgm:spPr/>
      <dgm:t>
        <a:bodyPr/>
        <a:lstStyle/>
        <a:p>
          <a:endParaRPr lang="en-US"/>
        </a:p>
      </dgm:t>
    </dgm:pt>
    <dgm:pt modelId="{98551F69-8226-4C8A-8858-3A6B7D39795B}">
      <dgm:prSet phldrT="[Text]"/>
      <dgm:spPr/>
      <dgm:t>
        <a:bodyPr/>
        <a:lstStyle/>
        <a:p>
          <a:r>
            <a:rPr lang="cs-CZ" dirty="0" smtClean="0"/>
            <a:t>Inflace a Inflační očekávání klesají,  nižší mzdy</a:t>
          </a:r>
          <a:endParaRPr lang="en-US" dirty="0"/>
        </a:p>
      </dgm:t>
    </dgm:pt>
    <dgm:pt modelId="{1D28831B-4545-4346-984D-7016CD3208DD}" type="parTrans" cxnId="{1E742B28-F036-4F42-8CAB-F2A5A555AEE7}">
      <dgm:prSet/>
      <dgm:spPr/>
      <dgm:t>
        <a:bodyPr/>
        <a:lstStyle/>
        <a:p>
          <a:endParaRPr lang="en-US"/>
        </a:p>
      </dgm:t>
    </dgm:pt>
    <dgm:pt modelId="{C104C2F7-0729-4634-9E7E-ADB2EBDC0509}" type="sibTrans" cxnId="{1E742B28-F036-4F42-8CAB-F2A5A555AEE7}">
      <dgm:prSet/>
      <dgm:spPr/>
      <dgm:t>
        <a:bodyPr/>
        <a:lstStyle/>
        <a:p>
          <a:endParaRPr lang="en-US"/>
        </a:p>
      </dgm:t>
    </dgm:pt>
    <dgm:pt modelId="{212CBBA1-F31A-4F65-983E-AAA7DBDFE3EE}">
      <dgm:prSet phldrT="[Text]"/>
      <dgm:spPr/>
      <dgm:t>
        <a:bodyPr/>
        <a:lstStyle/>
        <a:p>
          <a:r>
            <a:rPr lang="cs-CZ" dirty="0" smtClean="0"/>
            <a:t>Reálná cena dluhu roste, ceny aktiv klesají</a:t>
          </a:r>
          <a:endParaRPr lang="en-US" dirty="0"/>
        </a:p>
      </dgm:t>
    </dgm:pt>
    <dgm:pt modelId="{C2BBBC26-4409-46F5-A885-939932DC6A57}" type="parTrans" cxnId="{4CDB75F3-515A-4E68-990C-B8EDCEB7755F}">
      <dgm:prSet/>
      <dgm:spPr/>
      <dgm:t>
        <a:bodyPr/>
        <a:lstStyle/>
        <a:p>
          <a:endParaRPr lang="en-US"/>
        </a:p>
      </dgm:t>
    </dgm:pt>
    <dgm:pt modelId="{67A4AAD2-9A56-4690-8E52-343BA9813AC6}" type="sibTrans" cxnId="{4CDB75F3-515A-4E68-990C-B8EDCEB7755F}">
      <dgm:prSet/>
      <dgm:spPr/>
      <dgm:t>
        <a:bodyPr/>
        <a:lstStyle/>
        <a:p>
          <a:endParaRPr lang="en-US"/>
        </a:p>
      </dgm:t>
    </dgm:pt>
    <dgm:pt modelId="{FD51B5D7-C721-4EE8-873D-5C6CB4906A1D}">
      <dgm:prSet phldrT="[Text]"/>
      <dgm:spPr/>
      <dgm:t>
        <a:bodyPr/>
        <a:lstStyle/>
        <a:p>
          <a:r>
            <a:rPr lang="cs-CZ" dirty="0" smtClean="0"/>
            <a:t>Nesplácené úvěry rostou, bankroty</a:t>
          </a:r>
          <a:endParaRPr lang="en-US" dirty="0"/>
        </a:p>
      </dgm:t>
    </dgm:pt>
    <dgm:pt modelId="{C8612982-F121-4903-938C-B11F06E66DD0}" type="parTrans" cxnId="{E065DCC2-2B22-4368-A4CD-795A131A322B}">
      <dgm:prSet/>
      <dgm:spPr/>
      <dgm:t>
        <a:bodyPr/>
        <a:lstStyle/>
        <a:p>
          <a:endParaRPr lang="en-US"/>
        </a:p>
      </dgm:t>
    </dgm:pt>
    <dgm:pt modelId="{A9188519-5B53-40FA-9548-4B07DABC2167}" type="sibTrans" cxnId="{E065DCC2-2B22-4368-A4CD-795A131A322B}">
      <dgm:prSet/>
      <dgm:spPr/>
      <dgm:t>
        <a:bodyPr/>
        <a:lstStyle/>
        <a:p>
          <a:endParaRPr lang="en-US">
            <a:solidFill>
              <a:srgbClr val="C00000"/>
            </a:solidFill>
          </a:endParaRPr>
        </a:p>
      </dgm:t>
    </dgm:pt>
    <dgm:pt modelId="{60C294C0-1F7F-4981-AF99-22AD37EEB2A0}" type="pres">
      <dgm:prSet presAssocID="{7083CBC7-B721-425E-9CEB-D0974280CC0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34F1F52-305E-4605-B59B-BE6CB8F09914}" type="pres">
      <dgm:prSet presAssocID="{600CC15C-4B38-459E-89F8-76F4BA075413}" presName="dummy" presStyleCnt="0"/>
      <dgm:spPr/>
    </dgm:pt>
    <dgm:pt modelId="{ED05692B-CFCD-43FF-834B-6D0C2E0E6C30}" type="pres">
      <dgm:prSet presAssocID="{600CC15C-4B38-459E-89F8-76F4BA075413}" presName="node" presStyleLbl="revTx" presStyleIdx="0" presStyleCnt="5" custScaleX="126311" custScaleY="75270" custRadScaleRad="106139" custRadScaleInc="956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FB85D7-A4F3-43EB-85B4-0555DA524135}" type="pres">
      <dgm:prSet presAssocID="{03525185-271C-435A-9478-E0807E7B684D}" presName="sibTrans" presStyleLbl="node1" presStyleIdx="0" presStyleCnt="5" custLinFactNeighborX="4302" custLinFactNeighborY="-4808"/>
      <dgm:spPr/>
      <dgm:t>
        <a:bodyPr/>
        <a:lstStyle/>
        <a:p>
          <a:endParaRPr lang="en-US"/>
        </a:p>
      </dgm:t>
    </dgm:pt>
    <dgm:pt modelId="{BF04ED6D-936D-4115-892F-78950D6C16F7}" type="pres">
      <dgm:prSet presAssocID="{E10CF675-523D-4DB2-9DBC-D8993408BBC3}" presName="dummy" presStyleCnt="0"/>
      <dgm:spPr/>
    </dgm:pt>
    <dgm:pt modelId="{A8549967-4DD8-49AF-8097-20C2932DD493}" type="pres">
      <dgm:prSet presAssocID="{E10CF675-523D-4DB2-9DBC-D8993408BBC3}" presName="node" presStyleLbl="revTx" presStyleIdx="1" presStyleCnt="5" custScaleX="142791" custScaleY="92761" custRadScaleRad="125099" custRadScaleInc="-120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D0F4D6B-60DC-4023-A560-7A3C0B272DE4}" type="pres">
      <dgm:prSet presAssocID="{0F6DDAFE-0F4D-4EF1-BD26-B5689C53F71F}" presName="sibTrans" presStyleLbl="node1" presStyleIdx="1" presStyleCnt="5"/>
      <dgm:spPr/>
      <dgm:t>
        <a:bodyPr/>
        <a:lstStyle/>
        <a:p>
          <a:endParaRPr lang="en-US"/>
        </a:p>
      </dgm:t>
    </dgm:pt>
    <dgm:pt modelId="{202BA4C6-BD22-4D39-B13A-E8915CD252E4}" type="pres">
      <dgm:prSet presAssocID="{98551F69-8226-4C8A-8858-3A6B7D39795B}" presName="dummy" presStyleCnt="0"/>
      <dgm:spPr/>
    </dgm:pt>
    <dgm:pt modelId="{D4C16DE6-847D-42CA-987E-A6B3140706C2}" type="pres">
      <dgm:prSet presAssocID="{98551F69-8226-4C8A-8858-3A6B7D39795B}" presName="node" presStyleLbl="revTx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E85D39-FCAE-4E1A-8F5B-C390EC471D46}" type="pres">
      <dgm:prSet presAssocID="{C104C2F7-0729-4634-9E7E-ADB2EBDC0509}" presName="sibTrans" presStyleLbl="node1" presStyleIdx="2" presStyleCnt="5"/>
      <dgm:spPr/>
      <dgm:t>
        <a:bodyPr/>
        <a:lstStyle/>
        <a:p>
          <a:endParaRPr lang="en-US"/>
        </a:p>
      </dgm:t>
    </dgm:pt>
    <dgm:pt modelId="{2451CC69-881F-4E82-9635-51D1BA08C4F4}" type="pres">
      <dgm:prSet presAssocID="{212CBBA1-F31A-4F65-983E-AAA7DBDFE3EE}" presName="dummy" presStyleCnt="0"/>
      <dgm:spPr/>
    </dgm:pt>
    <dgm:pt modelId="{8D832B84-7A35-4307-88A1-426437D4CE63}" type="pres">
      <dgm:prSet presAssocID="{212CBBA1-F31A-4F65-983E-AAA7DBDFE3EE}" presName="node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D4A125-825B-41D6-BC5C-04BF7B236E2F}" type="pres">
      <dgm:prSet presAssocID="{67A4AAD2-9A56-4690-8E52-343BA9813AC6}" presName="sibTrans" presStyleLbl="node1" presStyleIdx="3" presStyleCnt="5"/>
      <dgm:spPr/>
      <dgm:t>
        <a:bodyPr/>
        <a:lstStyle/>
        <a:p>
          <a:endParaRPr lang="en-US"/>
        </a:p>
      </dgm:t>
    </dgm:pt>
    <dgm:pt modelId="{9F867CD0-BC42-45C4-93EC-E2F14F208A0C}" type="pres">
      <dgm:prSet presAssocID="{FD51B5D7-C721-4EE8-873D-5C6CB4906A1D}" presName="dummy" presStyleCnt="0"/>
      <dgm:spPr/>
    </dgm:pt>
    <dgm:pt modelId="{F4D50E9E-A589-428B-9FA5-9CBF12412440}" type="pres">
      <dgm:prSet presAssocID="{FD51B5D7-C721-4EE8-873D-5C6CB4906A1D}" presName="node" presStyleLbl="revTx" presStyleIdx="4" presStyleCnt="5" custRadScaleRad="101764" custRadScaleInc="-121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083C19F-5AD7-4591-BCBF-30E1F6801538}" type="pres">
      <dgm:prSet presAssocID="{A9188519-5B53-40FA-9548-4B07DABC2167}" presName="sibTrans" presStyleLbl="node1" presStyleIdx="4" presStyleCnt="5" custScaleY="98945" custLinFactNeighborX="759" custLinFactNeighborY="1126"/>
      <dgm:spPr/>
      <dgm:t>
        <a:bodyPr/>
        <a:lstStyle/>
        <a:p>
          <a:endParaRPr lang="en-US"/>
        </a:p>
      </dgm:t>
    </dgm:pt>
  </dgm:ptLst>
  <dgm:cxnLst>
    <dgm:cxn modelId="{E065DCC2-2B22-4368-A4CD-795A131A322B}" srcId="{7083CBC7-B721-425E-9CEB-D0974280CC09}" destId="{FD51B5D7-C721-4EE8-873D-5C6CB4906A1D}" srcOrd="4" destOrd="0" parTransId="{C8612982-F121-4903-938C-B11F06E66DD0}" sibTransId="{A9188519-5B53-40FA-9548-4B07DABC2167}"/>
    <dgm:cxn modelId="{F0BEFC1E-A118-42A1-8CC7-736508B64B36}" type="presOf" srcId="{7083CBC7-B721-425E-9CEB-D0974280CC09}" destId="{60C294C0-1F7F-4981-AF99-22AD37EEB2A0}" srcOrd="0" destOrd="0" presId="urn:microsoft.com/office/officeart/2005/8/layout/cycle1"/>
    <dgm:cxn modelId="{0EC3FDE3-14A6-4529-A762-429E1F20D339}" srcId="{7083CBC7-B721-425E-9CEB-D0974280CC09}" destId="{600CC15C-4B38-459E-89F8-76F4BA075413}" srcOrd="0" destOrd="0" parTransId="{ED519757-606A-42FB-BEE4-0E2F6D77881E}" sibTransId="{03525185-271C-435A-9478-E0807E7B684D}"/>
    <dgm:cxn modelId="{516DB20D-08E6-4F27-8184-914B2BAD63CF}" type="presOf" srcId="{C104C2F7-0729-4634-9E7E-ADB2EBDC0509}" destId="{E7E85D39-FCAE-4E1A-8F5B-C390EC471D46}" srcOrd="0" destOrd="0" presId="urn:microsoft.com/office/officeart/2005/8/layout/cycle1"/>
    <dgm:cxn modelId="{1E742B28-F036-4F42-8CAB-F2A5A555AEE7}" srcId="{7083CBC7-B721-425E-9CEB-D0974280CC09}" destId="{98551F69-8226-4C8A-8858-3A6B7D39795B}" srcOrd="2" destOrd="0" parTransId="{1D28831B-4545-4346-984D-7016CD3208DD}" sibTransId="{C104C2F7-0729-4634-9E7E-ADB2EBDC0509}"/>
    <dgm:cxn modelId="{E4128FC3-37EB-44BE-8301-4869F24704B2}" type="presOf" srcId="{A9188519-5B53-40FA-9548-4B07DABC2167}" destId="{8083C19F-5AD7-4591-BCBF-30E1F6801538}" srcOrd="0" destOrd="0" presId="urn:microsoft.com/office/officeart/2005/8/layout/cycle1"/>
    <dgm:cxn modelId="{37383478-2DA9-43E4-BA21-D055FF92C094}" type="presOf" srcId="{0F6DDAFE-0F4D-4EF1-BD26-B5689C53F71F}" destId="{9D0F4D6B-60DC-4023-A560-7A3C0B272DE4}" srcOrd="0" destOrd="0" presId="urn:microsoft.com/office/officeart/2005/8/layout/cycle1"/>
    <dgm:cxn modelId="{4CDB75F3-515A-4E68-990C-B8EDCEB7755F}" srcId="{7083CBC7-B721-425E-9CEB-D0974280CC09}" destId="{212CBBA1-F31A-4F65-983E-AAA7DBDFE3EE}" srcOrd="3" destOrd="0" parTransId="{C2BBBC26-4409-46F5-A885-939932DC6A57}" sibTransId="{67A4AAD2-9A56-4690-8E52-343BA9813AC6}"/>
    <dgm:cxn modelId="{7B482366-2840-4D4B-84AC-2A88646AEECD}" type="presOf" srcId="{03525185-271C-435A-9478-E0807E7B684D}" destId="{A9FB85D7-A4F3-43EB-85B4-0555DA524135}" srcOrd="0" destOrd="0" presId="urn:microsoft.com/office/officeart/2005/8/layout/cycle1"/>
    <dgm:cxn modelId="{D82EDB1E-5641-438F-AF0F-4E492F88E1AC}" type="presOf" srcId="{FD51B5D7-C721-4EE8-873D-5C6CB4906A1D}" destId="{F4D50E9E-A589-428B-9FA5-9CBF12412440}" srcOrd="0" destOrd="0" presId="urn:microsoft.com/office/officeart/2005/8/layout/cycle1"/>
    <dgm:cxn modelId="{3116276C-43EC-4FE5-8BE4-58E20B9503A1}" type="presOf" srcId="{98551F69-8226-4C8A-8858-3A6B7D39795B}" destId="{D4C16DE6-847D-42CA-987E-A6B3140706C2}" srcOrd="0" destOrd="0" presId="urn:microsoft.com/office/officeart/2005/8/layout/cycle1"/>
    <dgm:cxn modelId="{C47148D8-D03F-44F6-8153-E7E03392E35C}" type="presOf" srcId="{212CBBA1-F31A-4F65-983E-AAA7DBDFE3EE}" destId="{8D832B84-7A35-4307-88A1-426437D4CE63}" srcOrd="0" destOrd="0" presId="urn:microsoft.com/office/officeart/2005/8/layout/cycle1"/>
    <dgm:cxn modelId="{6DFF27DD-F0B3-41AB-A003-14FDD8FFCE03}" type="presOf" srcId="{67A4AAD2-9A56-4690-8E52-343BA9813AC6}" destId="{07D4A125-825B-41D6-BC5C-04BF7B236E2F}" srcOrd="0" destOrd="0" presId="urn:microsoft.com/office/officeart/2005/8/layout/cycle1"/>
    <dgm:cxn modelId="{35D9859F-52FC-4A4E-8F98-0969DED1C506}" srcId="{7083CBC7-B721-425E-9CEB-D0974280CC09}" destId="{E10CF675-523D-4DB2-9DBC-D8993408BBC3}" srcOrd="1" destOrd="0" parTransId="{DDFEAB75-EA66-4EEE-8BEE-F438CE041DC8}" sibTransId="{0F6DDAFE-0F4D-4EF1-BD26-B5689C53F71F}"/>
    <dgm:cxn modelId="{D5A2110C-B7E9-4BA0-9EF5-1C7398F7CD2F}" type="presOf" srcId="{600CC15C-4B38-459E-89F8-76F4BA075413}" destId="{ED05692B-CFCD-43FF-834B-6D0C2E0E6C30}" srcOrd="0" destOrd="0" presId="urn:microsoft.com/office/officeart/2005/8/layout/cycle1"/>
    <dgm:cxn modelId="{6BE4C8AB-4D1C-4556-A118-48FF44AD0DC0}" type="presOf" srcId="{E10CF675-523D-4DB2-9DBC-D8993408BBC3}" destId="{A8549967-4DD8-49AF-8097-20C2932DD493}" srcOrd="0" destOrd="0" presId="urn:microsoft.com/office/officeart/2005/8/layout/cycle1"/>
    <dgm:cxn modelId="{EC2C5F3C-A071-484F-8360-A6EEDA57C728}" type="presParOf" srcId="{60C294C0-1F7F-4981-AF99-22AD37EEB2A0}" destId="{634F1F52-305E-4605-B59B-BE6CB8F09914}" srcOrd="0" destOrd="0" presId="urn:microsoft.com/office/officeart/2005/8/layout/cycle1"/>
    <dgm:cxn modelId="{91C12B81-43B6-43FD-9852-3EEFB1D919C2}" type="presParOf" srcId="{60C294C0-1F7F-4981-AF99-22AD37EEB2A0}" destId="{ED05692B-CFCD-43FF-834B-6D0C2E0E6C30}" srcOrd="1" destOrd="0" presId="urn:microsoft.com/office/officeart/2005/8/layout/cycle1"/>
    <dgm:cxn modelId="{7827AE96-E6B3-4BC0-A1C4-B15656A909DB}" type="presParOf" srcId="{60C294C0-1F7F-4981-AF99-22AD37EEB2A0}" destId="{A9FB85D7-A4F3-43EB-85B4-0555DA524135}" srcOrd="2" destOrd="0" presId="urn:microsoft.com/office/officeart/2005/8/layout/cycle1"/>
    <dgm:cxn modelId="{D52204C5-D463-4B18-89A4-C275318F8684}" type="presParOf" srcId="{60C294C0-1F7F-4981-AF99-22AD37EEB2A0}" destId="{BF04ED6D-936D-4115-892F-78950D6C16F7}" srcOrd="3" destOrd="0" presId="urn:microsoft.com/office/officeart/2005/8/layout/cycle1"/>
    <dgm:cxn modelId="{594FCF7C-0238-48A1-A260-7889AC011E07}" type="presParOf" srcId="{60C294C0-1F7F-4981-AF99-22AD37EEB2A0}" destId="{A8549967-4DD8-49AF-8097-20C2932DD493}" srcOrd="4" destOrd="0" presId="urn:microsoft.com/office/officeart/2005/8/layout/cycle1"/>
    <dgm:cxn modelId="{CDB728BA-C99A-4E3A-B329-743CFC26691A}" type="presParOf" srcId="{60C294C0-1F7F-4981-AF99-22AD37EEB2A0}" destId="{9D0F4D6B-60DC-4023-A560-7A3C0B272DE4}" srcOrd="5" destOrd="0" presId="urn:microsoft.com/office/officeart/2005/8/layout/cycle1"/>
    <dgm:cxn modelId="{19C8F1A9-4358-49E1-9546-B28D0CD82007}" type="presParOf" srcId="{60C294C0-1F7F-4981-AF99-22AD37EEB2A0}" destId="{202BA4C6-BD22-4D39-B13A-E8915CD252E4}" srcOrd="6" destOrd="0" presId="urn:microsoft.com/office/officeart/2005/8/layout/cycle1"/>
    <dgm:cxn modelId="{15DE96E7-E7CD-4986-95BA-F4008F1F4A36}" type="presParOf" srcId="{60C294C0-1F7F-4981-AF99-22AD37EEB2A0}" destId="{D4C16DE6-847D-42CA-987E-A6B3140706C2}" srcOrd="7" destOrd="0" presId="urn:microsoft.com/office/officeart/2005/8/layout/cycle1"/>
    <dgm:cxn modelId="{41D4F8AE-84E0-4CEF-8389-7503C559556F}" type="presParOf" srcId="{60C294C0-1F7F-4981-AF99-22AD37EEB2A0}" destId="{E7E85D39-FCAE-4E1A-8F5B-C390EC471D46}" srcOrd="8" destOrd="0" presId="urn:microsoft.com/office/officeart/2005/8/layout/cycle1"/>
    <dgm:cxn modelId="{FA683386-D168-49C0-8CDD-634E78F6D411}" type="presParOf" srcId="{60C294C0-1F7F-4981-AF99-22AD37EEB2A0}" destId="{2451CC69-881F-4E82-9635-51D1BA08C4F4}" srcOrd="9" destOrd="0" presId="urn:microsoft.com/office/officeart/2005/8/layout/cycle1"/>
    <dgm:cxn modelId="{41E5CD10-957D-4131-9E27-B81C4C20E2AE}" type="presParOf" srcId="{60C294C0-1F7F-4981-AF99-22AD37EEB2A0}" destId="{8D832B84-7A35-4307-88A1-426437D4CE63}" srcOrd="10" destOrd="0" presId="urn:microsoft.com/office/officeart/2005/8/layout/cycle1"/>
    <dgm:cxn modelId="{C06FE157-E9B0-478C-A98D-3E0408C4859C}" type="presParOf" srcId="{60C294C0-1F7F-4981-AF99-22AD37EEB2A0}" destId="{07D4A125-825B-41D6-BC5C-04BF7B236E2F}" srcOrd="11" destOrd="0" presId="urn:microsoft.com/office/officeart/2005/8/layout/cycle1"/>
    <dgm:cxn modelId="{0F43E31C-01CA-4484-B1C0-2AD6D6B0C36D}" type="presParOf" srcId="{60C294C0-1F7F-4981-AF99-22AD37EEB2A0}" destId="{9F867CD0-BC42-45C4-93EC-E2F14F208A0C}" srcOrd="12" destOrd="0" presId="urn:microsoft.com/office/officeart/2005/8/layout/cycle1"/>
    <dgm:cxn modelId="{50C0B75A-F50A-4502-A073-D8803656CC10}" type="presParOf" srcId="{60C294C0-1F7F-4981-AF99-22AD37EEB2A0}" destId="{F4D50E9E-A589-428B-9FA5-9CBF12412440}" srcOrd="13" destOrd="0" presId="urn:microsoft.com/office/officeart/2005/8/layout/cycle1"/>
    <dgm:cxn modelId="{29EAE7FF-9200-43A6-9B35-8D4726A77189}" type="presParOf" srcId="{60C294C0-1F7F-4981-AF99-22AD37EEB2A0}" destId="{8083C19F-5AD7-4591-BCBF-30E1F6801538}" srcOrd="14" destOrd="0" presId="urn:microsoft.com/office/officeart/2005/8/layout/cycle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E3934BE-ED52-402C-A54F-BB3686578C3D}" type="doc">
      <dgm:prSet loTypeId="urn:microsoft.com/office/officeart/2008/layout/VerticalCurvedList" loCatId="list" qsTypeId="urn:microsoft.com/office/officeart/2005/8/quickstyle/3d2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733E90A5-F3B0-4FFE-8BEE-4AA9F2356DF7}">
      <dgm:prSet phldrT="[Text]"/>
      <dgm:spPr>
        <a:gradFill rotWithShape="0">
          <a:gsLst>
            <a:gs pos="54000">
              <a:schemeClr val="bg1">
                <a:lumMod val="65000"/>
              </a:schemeClr>
            </a:gs>
            <a:gs pos="99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</a:gradFill>
      </dgm:spPr>
      <dgm:t>
        <a:bodyPr/>
        <a:lstStyle/>
        <a:p>
          <a:r>
            <a:rPr lang="cs-CZ" dirty="0" smtClean="0"/>
            <a:t>Chudokrevná ekonomika</a:t>
          </a:r>
        </a:p>
        <a:p>
          <a:r>
            <a:rPr lang="cs-CZ" dirty="0" smtClean="0"/>
            <a:t>(HDP pod potenciálem)</a:t>
          </a:r>
          <a:endParaRPr lang="en-US" dirty="0"/>
        </a:p>
      </dgm:t>
    </dgm:pt>
    <dgm:pt modelId="{D05FC822-0D90-4D69-A5D8-DB4F90EBBF06}" type="parTrans" cxnId="{0DBFDFE5-B20F-4867-BEBB-E782BB15BF8D}">
      <dgm:prSet/>
      <dgm:spPr/>
      <dgm:t>
        <a:bodyPr/>
        <a:lstStyle/>
        <a:p>
          <a:endParaRPr lang="en-US"/>
        </a:p>
      </dgm:t>
    </dgm:pt>
    <dgm:pt modelId="{8F6F5486-526A-4C30-ACF8-24BCAB70D087}" type="sibTrans" cxnId="{0DBFDFE5-B20F-4867-BEBB-E782BB15BF8D}">
      <dgm:prSet/>
      <dgm:spPr/>
      <dgm:t>
        <a:bodyPr/>
        <a:lstStyle/>
        <a:p>
          <a:endParaRPr lang="en-US"/>
        </a:p>
      </dgm:t>
    </dgm:pt>
    <dgm:pt modelId="{16EEE177-A206-4474-9E3D-4D744C4FF09D}">
      <dgm:prSet phldrT="[Text]"/>
      <dgm:spPr/>
      <dgm:t>
        <a:bodyPr/>
        <a:lstStyle/>
        <a:p>
          <a:r>
            <a:rPr lang="cs-CZ" dirty="0" smtClean="0"/>
            <a:t>Poptávková inflace se vypařila</a:t>
          </a:r>
        </a:p>
        <a:p>
          <a:r>
            <a:rPr lang="cs-CZ" dirty="0" smtClean="0"/>
            <a:t>(CPI pod dolním tolerančním pásmem)</a:t>
          </a:r>
        </a:p>
        <a:p>
          <a:r>
            <a:rPr lang="cs-CZ" dirty="0" smtClean="0"/>
            <a:t>Ceny průmyslových výrobců směřující </a:t>
          </a:r>
          <a:r>
            <a:rPr lang="cs-CZ" dirty="0" err="1" smtClean="0"/>
            <a:t>knule</a:t>
          </a:r>
          <a:endParaRPr lang="cs-CZ" dirty="0" smtClean="0"/>
        </a:p>
        <a:p>
          <a:r>
            <a:rPr lang="cs-CZ" dirty="0" smtClean="0"/>
            <a:t>Klesající ceny ve stavebnictví, tržních službách, zemědělství</a:t>
          </a:r>
        </a:p>
        <a:p>
          <a:r>
            <a:rPr lang="cs-CZ" dirty="0" smtClean="0"/>
            <a:t>Ceny bytů mimo Prahu po poklesu stabilizace </a:t>
          </a:r>
        </a:p>
        <a:p>
          <a:r>
            <a:rPr lang="cs-CZ" dirty="0" smtClean="0"/>
            <a:t>Deflátor nad 1%</a:t>
          </a:r>
        </a:p>
      </dgm:t>
    </dgm:pt>
    <dgm:pt modelId="{7B45FD96-D645-4174-B373-E7C29DAAA9A6}" type="parTrans" cxnId="{4C462FD6-882F-4001-B2B8-C3320362787F}">
      <dgm:prSet/>
      <dgm:spPr/>
      <dgm:t>
        <a:bodyPr/>
        <a:lstStyle/>
        <a:p>
          <a:endParaRPr lang="en-US"/>
        </a:p>
      </dgm:t>
    </dgm:pt>
    <dgm:pt modelId="{CCC64588-0781-4AF4-806E-612739EDD5BF}" type="sibTrans" cxnId="{4C462FD6-882F-4001-B2B8-C3320362787F}">
      <dgm:prSet/>
      <dgm:spPr/>
      <dgm:t>
        <a:bodyPr/>
        <a:lstStyle/>
        <a:p>
          <a:endParaRPr lang="en-US"/>
        </a:p>
      </dgm:t>
    </dgm:pt>
    <dgm:pt modelId="{03296747-0EAE-4361-B7CE-232204391FF5}">
      <dgm:prSet phldrT="[Text]"/>
      <dgm:spPr/>
      <dgm:t>
        <a:bodyPr/>
        <a:lstStyle/>
        <a:p>
          <a:r>
            <a:rPr lang="cs-CZ" dirty="0" smtClean="0"/>
            <a:t>Restriktivní a později pasivní fiskální politika</a:t>
          </a:r>
          <a:endParaRPr lang="en-US" dirty="0"/>
        </a:p>
      </dgm:t>
    </dgm:pt>
    <dgm:pt modelId="{57795271-DC95-4EDF-80FE-C897DE047181}" type="parTrans" cxnId="{D6E89610-8B28-474E-9F82-0089D76C418B}">
      <dgm:prSet/>
      <dgm:spPr/>
      <dgm:t>
        <a:bodyPr/>
        <a:lstStyle/>
        <a:p>
          <a:endParaRPr lang="en-US"/>
        </a:p>
      </dgm:t>
    </dgm:pt>
    <dgm:pt modelId="{9921637B-2545-4F48-9D98-A8AD4AF6532D}" type="sibTrans" cxnId="{D6E89610-8B28-474E-9F82-0089D76C418B}">
      <dgm:prSet/>
      <dgm:spPr/>
      <dgm:t>
        <a:bodyPr/>
        <a:lstStyle/>
        <a:p>
          <a:endParaRPr lang="en-US"/>
        </a:p>
      </dgm:t>
    </dgm:pt>
    <dgm:pt modelId="{BE0EC5EE-4683-4688-A52A-A240382D96DD}" type="pres">
      <dgm:prSet presAssocID="{8E3934BE-ED52-402C-A54F-BB3686578C3D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DAF400F2-EC24-471E-985C-40A85D50C1D1}" type="pres">
      <dgm:prSet presAssocID="{8E3934BE-ED52-402C-A54F-BB3686578C3D}" presName="Name1" presStyleCnt="0"/>
      <dgm:spPr/>
    </dgm:pt>
    <dgm:pt modelId="{4C1ADA2B-9880-4B1D-B0DB-3BA6D84C925B}" type="pres">
      <dgm:prSet presAssocID="{8E3934BE-ED52-402C-A54F-BB3686578C3D}" presName="cycle" presStyleCnt="0"/>
      <dgm:spPr/>
    </dgm:pt>
    <dgm:pt modelId="{19A772DC-BE39-40A4-AB4F-46A86E425AEB}" type="pres">
      <dgm:prSet presAssocID="{8E3934BE-ED52-402C-A54F-BB3686578C3D}" presName="srcNode" presStyleLbl="node1" presStyleIdx="0" presStyleCnt="3"/>
      <dgm:spPr/>
    </dgm:pt>
    <dgm:pt modelId="{0230EC93-319F-413C-974F-7CEBCF2D4730}" type="pres">
      <dgm:prSet presAssocID="{8E3934BE-ED52-402C-A54F-BB3686578C3D}" presName="conn" presStyleLbl="parChTrans1D2" presStyleIdx="0" presStyleCnt="1" custLinFactNeighborX="-11122" custLinFactNeighborY="482"/>
      <dgm:spPr/>
      <dgm:t>
        <a:bodyPr/>
        <a:lstStyle/>
        <a:p>
          <a:endParaRPr lang="en-US"/>
        </a:p>
      </dgm:t>
    </dgm:pt>
    <dgm:pt modelId="{27472444-CDCD-4A01-BB1A-57C043EFA9DF}" type="pres">
      <dgm:prSet presAssocID="{8E3934BE-ED52-402C-A54F-BB3686578C3D}" presName="extraNode" presStyleLbl="node1" presStyleIdx="0" presStyleCnt="3"/>
      <dgm:spPr/>
    </dgm:pt>
    <dgm:pt modelId="{26454EA7-E7C1-4C26-8DD5-4F601CDF3216}" type="pres">
      <dgm:prSet presAssocID="{8E3934BE-ED52-402C-A54F-BB3686578C3D}" presName="dstNode" presStyleLbl="node1" presStyleIdx="0" presStyleCnt="3"/>
      <dgm:spPr/>
    </dgm:pt>
    <dgm:pt modelId="{23689983-E7A3-415C-8690-1E71080CCEE6}" type="pres">
      <dgm:prSet presAssocID="{733E90A5-F3B0-4FFE-8BEE-4AA9F2356DF7}" presName="text_1" presStyleLbl="node1" presStyleIdx="0" presStyleCnt="3" custLinFactNeighborX="-107" custLinFactNeighborY="-180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E2D867-FFC2-4DFB-9604-C643531EFFBA}" type="pres">
      <dgm:prSet presAssocID="{733E90A5-F3B0-4FFE-8BEE-4AA9F2356DF7}" presName="accent_1" presStyleCnt="0"/>
      <dgm:spPr/>
    </dgm:pt>
    <dgm:pt modelId="{E5C1EB88-F18F-4C11-8CC1-E2F7148E02F9}" type="pres">
      <dgm:prSet presAssocID="{733E90A5-F3B0-4FFE-8BEE-4AA9F2356DF7}" presName="accentRepeatNode" presStyleLbl="solidFgAcc1" presStyleIdx="0" presStyleCnt="3"/>
      <dgm:spPr/>
    </dgm:pt>
    <dgm:pt modelId="{C5A7E31B-4D8D-4C19-879A-F76F974B76B4}" type="pres">
      <dgm:prSet presAssocID="{16EEE177-A206-4474-9E3D-4D744C4FF09D}" presName="text_2" presStyleLbl="node1" presStyleIdx="1" presStyleCnt="3" custScaleY="2083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E5CDBF-C3FF-4AFF-BBBD-DBF89B6F9543}" type="pres">
      <dgm:prSet presAssocID="{16EEE177-A206-4474-9E3D-4D744C4FF09D}" presName="accent_2" presStyleCnt="0"/>
      <dgm:spPr/>
    </dgm:pt>
    <dgm:pt modelId="{509301FE-174E-4268-92EA-208DBA568C14}" type="pres">
      <dgm:prSet presAssocID="{16EEE177-A206-4474-9E3D-4D744C4FF09D}" presName="accentRepeatNode" presStyleLbl="solidFgAcc1" presStyleIdx="1" presStyleCnt="3"/>
      <dgm:spPr/>
    </dgm:pt>
    <dgm:pt modelId="{F8E1D264-6DBB-4D68-8DCB-BCC6A9C446FA}" type="pres">
      <dgm:prSet presAssocID="{03296747-0EAE-4361-B7CE-232204391FF5}" presName="text_3" presStyleLbl="node1" presStyleIdx="2" presStyleCnt="3" custLinFactNeighborX="687" custLinFactNeighborY="119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98F199-EF62-4A39-A8C0-05FFF5B8FCC7}" type="pres">
      <dgm:prSet presAssocID="{03296747-0EAE-4361-B7CE-232204391FF5}" presName="accent_3" presStyleCnt="0"/>
      <dgm:spPr/>
    </dgm:pt>
    <dgm:pt modelId="{4C366B07-5411-4D9E-BF7C-F2AC7ABE7845}" type="pres">
      <dgm:prSet presAssocID="{03296747-0EAE-4361-B7CE-232204391FF5}" presName="accentRepeatNode" presStyleLbl="solidFgAcc1" presStyleIdx="2" presStyleCnt="3"/>
      <dgm:spPr/>
    </dgm:pt>
  </dgm:ptLst>
  <dgm:cxnLst>
    <dgm:cxn modelId="{EAD31D66-0DC5-465C-BB65-1AB65F2A0963}" type="presOf" srcId="{16EEE177-A206-4474-9E3D-4D744C4FF09D}" destId="{C5A7E31B-4D8D-4C19-879A-F76F974B76B4}" srcOrd="0" destOrd="0" presId="urn:microsoft.com/office/officeart/2008/layout/VerticalCurvedList"/>
    <dgm:cxn modelId="{4C462FD6-882F-4001-B2B8-C3320362787F}" srcId="{8E3934BE-ED52-402C-A54F-BB3686578C3D}" destId="{16EEE177-A206-4474-9E3D-4D744C4FF09D}" srcOrd="1" destOrd="0" parTransId="{7B45FD96-D645-4174-B373-E7C29DAAA9A6}" sibTransId="{CCC64588-0781-4AF4-806E-612739EDD5BF}"/>
    <dgm:cxn modelId="{D6E89610-8B28-474E-9F82-0089D76C418B}" srcId="{8E3934BE-ED52-402C-A54F-BB3686578C3D}" destId="{03296747-0EAE-4361-B7CE-232204391FF5}" srcOrd="2" destOrd="0" parTransId="{57795271-DC95-4EDF-80FE-C897DE047181}" sibTransId="{9921637B-2545-4F48-9D98-A8AD4AF6532D}"/>
    <dgm:cxn modelId="{947E3FAC-36C4-4302-9200-C6B53216429B}" type="presOf" srcId="{733E90A5-F3B0-4FFE-8BEE-4AA9F2356DF7}" destId="{23689983-E7A3-415C-8690-1E71080CCEE6}" srcOrd="0" destOrd="0" presId="urn:microsoft.com/office/officeart/2008/layout/VerticalCurvedList"/>
    <dgm:cxn modelId="{0ADA6212-004E-456A-BB4C-2996C16D14B1}" type="presOf" srcId="{03296747-0EAE-4361-B7CE-232204391FF5}" destId="{F8E1D264-6DBB-4D68-8DCB-BCC6A9C446FA}" srcOrd="0" destOrd="0" presId="urn:microsoft.com/office/officeart/2008/layout/VerticalCurvedList"/>
    <dgm:cxn modelId="{0DBFDFE5-B20F-4867-BEBB-E782BB15BF8D}" srcId="{8E3934BE-ED52-402C-A54F-BB3686578C3D}" destId="{733E90A5-F3B0-4FFE-8BEE-4AA9F2356DF7}" srcOrd="0" destOrd="0" parTransId="{D05FC822-0D90-4D69-A5D8-DB4F90EBBF06}" sibTransId="{8F6F5486-526A-4C30-ACF8-24BCAB70D087}"/>
    <dgm:cxn modelId="{E12D73F4-2AF0-4A2E-B547-2DC84A5527F4}" type="presOf" srcId="{8E3934BE-ED52-402C-A54F-BB3686578C3D}" destId="{BE0EC5EE-4683-4688-A52A-A240382D96DD}" srcOrd="0" destOrd="0" presId="urn:microsoft.com/office/officeart/2008/layout/VerticalCurvedList"/>
    <dgm:cxn modelId="{65B5BDF0-AE54-477C-96CB-25EDDEA5CD07}" type="presOf" srcId="{8F6F5486-526A-4C30-ACF8-24BCAB70D087}" destId="{0230EC93-319F-413C-974F-7CEBCF2D4730}" srcOrd="0" destOrd="0" presId="urn:microsoft.com/office/officeart/2008/layout/VerticalCurvedList"/>
    <dgm:cxn modelId="{C9BC4BC7-A9AA-427C-9F8A-A05CDAE0457F}" type="presParOf" srcId="{BE0EC5EE-4683-4688-A52A-A240382D96DD}" destId="{DAF400F2-EC24-471E-985C-40A85D50C1D1}" srcOrd="0" destOrd="0" presId="urn:microsoft.com/office/officeart/2008/layout/VerticalCurvedList"/>
    <dgm:cxn modelId="{A8C3D330-CBF4-48E6-ACA2-CCDFE43F6B0B}" type="presParOf" srcId="{DAF400F2-EC24-471E-985C-40A85D50C1D1}" destId="{4C1ADA2B-9880-4B1D-B0DB-3BA6D84C925B}" srcOrd="0" destOrd="0" presId="urn:microsoft.com/office/officeart/2008/layout/VerticalCurvedList"/>
    <dgm:cxn modelId="{21566E11-8EE1-4C56-9EB7-DEB05602DF3F}" type="presParOf" srcId="{4C1ADA2B-9880-4B1D-B0DB-3BA6D84C925B}" destId="{19A772DC-BE39-40A4-AB4F-46A86E425AEB}" srcOrd="0" destOrd="0" presId="urn:microsoft.com/office/officeart/2008/layout/VerticalCurvedList"/>
    <dgm:cxn modelId="{35B73ED2-84CC-48F0-81AB-22146AF4D38D}" type="presParOf" srcId="{4C1ADA2B-9880-4B1D-B0DB-3BA6D84C925B}" destId="{0230EC93-319F-413C-974F-7CEBCF2D4730}" srcOrd="1" destOrd="0" presId="urn:microsoft.com/office/officeart/2008/layout/VerticalCurvedList"/>
    <dgm:cxn modelId="{09F91730-7810-4B78-AC34-0658CD343456}" type="presParOf" srcId="{4C1ADA2B-9880-4B1D-B0DB-3BA6D84C925B}" destId="{27472444-CDCD-4A01-BB1A-57C043EFA9DF}" srcOrd="2" destOrd="0" presId="urn:microsoft.com/office/officeart/2008/layout/VerticalCurvedList"/>
    <dgm:cxn modelId="{C99E7106-E3F9-4CEC-B041-DA4406484100}" type="presParOf" srcId="{4C1ADA2B-9880-4B1D-B0DB-3BA6D84C925B}" destId="{26454EA7-E7C1-4C26-8DD5-4F601CDF3216}" srcOrd="3" destOrd="0" presId="urn:microsoft.com/office/officeart/2008/layout/VerticalCurvedList"/>
    <dgm:cxn modelId="{D599EF8D-44E4-414B-B458-DA4A1C1E0044}" type="presParOf" srcId="{DAF400F2-EC24-471E-985C-40A85D50C1D1}" destId="{23689983-E7A3-415C-8690-1E71080CCEE6}" srcOrd="1" destOrd="0" presId="urn:microsoft.com/office/officeart/2008/layout/VerticalCurvedList"/>
    <dgm:cxn modelId="{7F54ECFA-1BB2-4B54-907D-4EE2B77EC839}" type="presParOf" srcId="{DAF400F2-EC24-471E-985C-40A85D50C1D1}" destId="{78E2D867-FFC2-4DFB-9604-C643531EFFBA}" srcOrd="2" destOrd="0" presId="urn:microsoft.com/office/officeart/2008/layout/VerticalCurvedList"/>
    <dgm:cxn modelId="{6358EEC7-CC6A-4FF4-9579-DBCBD39094B1}" type="presParOf" srcId="{78E2D867-FFC2-4DFB-9604-C643531EFFBA}" destId="{E5C1EB88-F18F-4C11-8CC1-E2F7148E02F9}" srcOrd="0" destOrd="0" presId="urn:microsoft.com/office/officeart/2008/layout/VerticalCurvedList"/>
    <dgm:cxn modelId="{CFBCB6D3-FC58-4E35-984D-A8BCE416CBD9}" type="presParOf" srcId="{DAF400F2-EC24-471E-985C-40A85D50C1D1}" destId="{C5A7E31B-4D8D-4C19-879A-F76F974B76B4}" srcOrd="3" destOrd="0" presId="urn:microsoft.com/office/officeart/2008/layout/VerticalCurvedList"/>
    <dgm:cxn modelId="{D3F0F97E-7B3B-47C0-B595-9EAD925A9DB1}" type="presParOf" srcId="{DAF400F2-EC24-471E-985C-40A85D50C1D1}" destId="{60E5CDBF-C3FF-4AFF-BBBD-DBF89B6F9543}" srcOrd="4" destOrd="0" presId="urn:microsoft.com/office/officeart/2008/layout/VerticalCurvedList"/>
    <dgm:cxn modelId="{CD11DD7C-8551-4275-AFD5-9C4470EA709E}" type="presParOf" srcId="{60E5CDBF-C3FF-4AFF-BBBD-DBF89B6F9543}" destId="{509301FE-174E-4268-92EA-208DBA568C14}" srcOrd="0" destOrd="0" presId="urn:microsoft.com/office/officeart/2008/layout/VerticalCurvedList"/>
    <dgm:cxn modelId="{4432C733-C99B-4EF7-A6DE-EDAB7A9758F2}" type="presParOf" srcId="{DAF400F2-EC24-471E-985C-40A85D50C1D1}" destId="{F8E1D264-6DBB-4D68-8DCB-BCC6A9C446FA}" srcOrd="5" destOrd="0" presId="urn:microsoft.com/office/officeart/2008/layout/VerticalCurvedList"/>
    <dgm:cxn modelId="{3A98B710-BFE4-40D4-8324-4E79C14AC556}" type="presParOf" srcId="{DAF400F2-EC24-471E-985C-40A85D50C1D1}" destId="{A498F199-EF62-4A39-A8C0-05FFF5B8FCC7}" srcOrd="6" destOrd="0" presId="urn:microsoft.com/office/officeart/2008/layout/VerticalCurvedList"/>
    <dgm:cxn modelId="{720BB429-7CBE-4007-8777-4CCF5A06A116}" type="presParOf" srcId="{A498F199-EF62-4A39-A8C0-05FFF5B8FCC7}" destId="{4C366B07-5411-4D9E-BF7C-F2AC7ABE784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6EC876E-04C2-49D4-8418-32F99A546F7E}" type="doc">
      <dgm:prSet loTypeId="urn:microsoft.com/office/officeart/2005/8/layout/gear1" loCatId="relationship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FFAAFEC-6080-4589-B379-7F85A80F6C7D}">
      <dgm:prSet phldrT="[Text]" custT="1"/>
      <dgm:spPr/>
      <dgm:t>
        <a:bodyPr/>
        <a:lstStyle/>
        <a:p>
          <a:r>
            <a:rPr lang="cs-CZ" sz="1800" dirty="0" smtClean="0"/>
            <a:t>Oživení spotřeby </a:t>
          </a:r>
          <a:endParaRPr lang="en-US" sz="1800" dirty="0"/>
        </a:p>
      </dgm:t>
    </dgm:pt>
    <dgm:pt modelId="{7597A4E2-E992-4B1C-8608-FB44002900F8}" type="parTrans" cxnId="{B56D078E-F527-4155-9DC6-A44909E2A4F6}">
      <dgm:prSet/>
      <dgm:spPr/>
      <dgm:t>
        <a:bodyPr/>
        <a:lstStyle/>
        <a:p>
          <a:endParaRPr lang="en-US" sz="2000"/>
        </a:p>
      </dgm:t>
    </dgm:pt>
    <dgm:pt modelId="{1FF620F8-7E05-4FB3-928B-33251EDCB310}" type="sibTrans" cxnId="{B56D078E-F527-4155-9DC6-A44909E2A4F6}">
      <dgm:prSet/>
      <dgm:spPr/>
      <dgm:t>
        <a:bodyPr/>
        <a:lstStyle/>
        <a:p>
          <a:endParaRPr lang="en-US" sz="2000"/>
        </a:p>
      </dgm:t>
    </dgm:pt>
    <dgm:pt modelId="{00EC563C-E6C1-4E53-8F78-D0E956A84330}">
      <dgm:prSet phldrT="[Text]" custT="1"/>
      <dgm:spPr/>
      <dgm:t>
        <a:bodyPr/>
        <a:lstStyle/>
        <a:p>
          <a:r>
            <a:rPr lang="cs-CZ" sz="1500" dirty="0" smtClean="0"/>
            <a:t>Důchodový efekt (bez růstu mezd záporný)</a:t>
          </a:r>
          <a:endParaRPr lang="en-US" sz="1500" dirty="0"/>
        </a:p>
      </dgm:t>
    </dgm:pt>
    <dgm:pt modelId="{61228DD8-5E5B-416E-94A3-27564AAA3576}" type="parTrans" cxnId="{A0027089-D600-4F40-B1E4-7AFD56D9D419}">
      <dgm:prSet/>
      <dgm:spPr/>
      <dgm:t>
        <a:bodyPr/>
        <a:lstStyle/>
        <a:p>
          <a:endParaRPr lang="en-US" sz="2000"/>
        </a:p>
      </dgm:t>
    </dgm:pt>
    <dgm:pt modelId="{B3D2F176-6F42-4AD7-B315-927B3E4AC848}" type="sibTrans" cxnId="{A0027089-D600-4F40-B1E4-7AFD56D9D419}">
      <dgm:prSet/>
      <dgm:spPr/>
      <dgm:t>
        <a:bodyPr/>
        <a:lstStyle/>
        <a:p>
          <a:endParaRPr lang="en-US" sz="2000"/>
        </a:p>
      </dgm:t>
    </dgm:pt>
    <dgm:pt modelId="{DF472CDD-C83E-46DB-BD5A-C135F350E7D0}">
      <dgm:prSet phldrT="[Text]" custT="1"/>
      <dgm:spPr/>
      <dgm:t>
        <a:bodyPr/>
        <a:lstStyle/>
        <a:p>
          <a:r>
            <a:rPr lang="cs-CZ" sz="1500" dirty="0" smtClean="0"/>
            <a:t>Substituční efekt (slabý)</a:t>
          </a:r>
          <a:endParaRPr lang="en-US" sz="1500" dirty="0"/>
        </a:p>
      </dgm:t>
    </dgm:pt>
    <dgm:pt modelId="{A913F13E-C7DC-4710-841D-DFF09B5E1C89}" type="parTrans" cxnId="{44C2A5FE-9992-43F0-82F0-34C3E97534D2}">
      <dgm:prSet/>
      <dgm:spPr/>
      <dgm:t>
        <a:bodyPr/>
        <a:lstStyle/>
        <a:p>
          <a:endParaRPr lang="en-US" sz="2000"/>
        </a:p>
      </dgm:t>
    </dgm:pt>
    <dgm:pt modelId="{0DC88956-2B88-46AC-B90B-C3FEB8EE65DD}" type="sibTrans" cxnId="{44C2A5FE-9992-43F0-82F0-34C3E97534D2}">
      <dgm:prSet/>
      <dgm:spPr/>
      <dgm:t>
        <a:bodyPr/>
        <a:lstStyle/>
        <a:p>
          <a:endParaRPr lang="en-US" sz="2000"/>
        </a:p>
      </dgm:t>
    </dgm:pt>
    <dgm:pt modelId="{80D80BED-C49B-4E3B-B36B-7434D6ABF8D8}">
      <dgm:prSet phldrT="[Text]"/>
      <dgm:spPr/>
      <dgm:t>
        <a:bodyPr/>
        <a:lstStyle/>
        <a:p>
          <a:endParaRPr lang="en-US"/>
        </a:p>
      </dgm:t>
    </dgm:pt>
    <dgm:pt modelId="{44BBDA1A-7862-4ED9-9128-2F4E8B759511}" type="parTrans" cxnId="{045A42D1-DCCF-4B10-A093-835F754C0983}">
      <dgm:prSet/>
      <dgm:spPr/>
      <dgm:t>
        <a:bodyPr/>
        <a:lstStyle/>
        <a:p>
          <a:endParaRPr lang="en-US" sz="2000"/>
        </a:p>
      </dgm:t>
    </dgm:pt>
    <dgm:pt modelId="{306907F2-E1F7-490E-A82C-F4CCEED48BBB}" type="sibTrans" cxnId="{045A42D1-DCCF-4B10-A093-835F754C0983}">
      <dgm:prSet/>
      <dgm:spPr/>
      <dgm:t>
        <a:bodyPr/>
        <a:lstStyle/>
        <a:p>
          <a:endParaRPr lang="en-US" sz="2000"/>
        </a:p>
      </dgm:t>
    </dgm:pt>
    <dgm:pt modelId="{AD705F2E-0B04-416C-8092-44C1287C6F12}">
      <dgm:prSet/>
      <dgm:spPr/>
      <dgm:t>
        <a:bodyPr/>
        <a:lstStyle/>
        <a:p>
          <a:endParaRPr lang="en-US"/>
        </a:p>
      </dgm:t>
    </dgm:pt>
    <dgm:pt modelId="{242B569F-CDE2-4BE1-93E3-F5562B746BB0}" type="parTrans" cxnId="{58FD48A1-2F02-4B69-969A-139E603496A8}">
      <dgm:prSet/>
      <dgm:spPr/>
      <dgm:t>
        <a:bodyPr/>
        <a:lstStyle/>
        <a:p>
          <a:endParaRPr lang="en-US" sz="2000"/>
        </a:p>
      </dgm:t>
    </dgm:pt>
    <dgm:pt modelId="{4F581BCC-3AEC-452E-9B95-7D351B2D8152}" type="sibTrans" cxnId="{58FD48A1-2F02-4B69-969A-139E603496A8}">
      <dgm:prSet/>
      <dgm:spPr/>
      <dgm:t>
        <a:bodyPr/>
        <a:lstStyle/>
        <a:p>
          <a:endParaRPr lang="en-US" sz="2000"/>
        </a:p>
      </dgm:t>
    </dgm:pt>
    <dgm:pt modelId="{225046EE-87C5-414E-825C-A91527131734}">
      <dgm:prSet phldrT="[Text]"/>
      <dgm:spPr/>
      <dgm:t>
        <a:bodyPr/>
        <a:lstStyle/>
        <a:p>
          <a:endParaRPr lang="en-US"/>
        </a:p>
      </dgm:t>
    </dgm:pt>
    <dgm:pt modelId="{E7744019-F320-4366-AF0B-59504379AFDF}" type="parTrans" cxnId="{6654D612-8CA6-44D6-9414-88752926C09A}">
      <dgm:prSet/>
      <dgm:spPr/>
      <dgm:t>
        <a:bodyPr/>
        <a:lstStyle/>
        <a:p>
          <a:endParaRPr lang="en-US" sz="2000"/>
        </a:p>
      </dgm:t>
    </dgm:pt>
    <dgm:pt modelId="{D2DFA8B3-5B95-41D9-AC4D-BF2393AA4F42}" type="sibTrans" cxnId="{6654D612-8CA6-44D6-9414-88752926C09A}">
      <dgm:prSet/>
      <dgm:spPr/>
      <dgm:t>
        <a:bodyPr/>
        <a:lstStyle/>
        <a:p>
          <a:endParaRPr lang="en-US" sz="2000"/>
        </a:p>
      </dgm:t>
    </dgm:pt>
    <dgm:pt modelId="{BA38DD74-696B-41FF-98B1-DD46A6B0A205}">
      <dgm:prSet phldrT="[Text]"/>
      <dgm:spPr/>
      <dgm:t>
        <a:bodyPr/>
        <a:lstStyle/>
        <a:p>
          <a:endParaRPr lang="en-US"/>
        </a:p>
      </dgm:t>
    </dgm:pt>
    <dgm:pt modelId="{A4FF8CBE-6F3A-4C5D-9340-6A2A627487D2}" type="parTrans" cxnId="{9672960E-B0C9-4034-97CC-D76293EFA784}">
      <dgm:prSet/>
      <dgm:spPr/>
      <dgm:t>
        <a:bodyPr/>
        <a:lstStyle/>
        <a:p>
          <a:endParaRPr lang="en-US" sz="2000"/>
        </a:p>
      </dgm:t>
    </dgm:pt>
    <dgm:pt modelId="{5BB3ED47-0B82-4FD2-B96C-2DE968E2ADCD}" type="sibTrans" cxnId="{9672960E-B0C9-4034-97CC-D76293EFA784}">
      <dgm:prSet/>
      <dgm:spPr/>
      <dgm:t>
        <a:bodyPr/>
        <a:lstStyle/>
        <a:p>
          <a:endParaRPr lang="en-US" sz="2000"/>
        </a:p>
      </dgm:t>
    </dgm:pt>
    <dgm:pt modelId="{433BE7DC-7B99-4504-B007-C1D033A0944D}">
      <dgm:prSet/>
      <dgm:spPr/>
      <dgm:t>
        <a:bodyPr/>
        <a:lstStyle/>
        <a:p>
          <a:endParaRPr lang="en-US" sz="2000"/>
        </a:p>
      </dgm:t>
    </dgm:pt>
    <dgm:pt modelId="{C44F4AD7-AB9D-4B61-979D-1299BF9AB664}" type="parTrans" cxnId="{391BFB2F-B367-4E1E-974B-C5BFFBA12BE3}">
      <dgm:prSet/>
      <dgm:spPr/>
      <dgm:t>
        <a:bodyPr/>
        <a:lstStyle/>
        <a:p>
          <a:endParaRPr lang="en-US" sz="2000"/>
        </a:p>
      </dgm:t>
    </dgm:pt>
    <dgm:pt modelId="{A1F7084C-DCAC-4AB2-A33B-14D604D80F07}" type="sibTrans" cxnId="{391BFB2F-B367-4E1E-974B-C5BFFBA12BE3}">
      <dgm:prSet/>
      <dgm:spPr/>
      <dgm:t>
        <a:bodyPr/>
        <a:lstStyle/>
        <a:p>
          <a:endParaRPr lang="en-US" sz="2000"/>
        </a:p>
      </dgm:t>
    </dgm:pt>
    <dgm:pt modelId="{2EACE593-1F08-49C4-B3BC-E65C562FC10B}">
      <dgm:prSet/>
      <dgm:spPr/>
      <dgm:t>
        <a:bodyPr/>
        <a:lstStyle/>
        <a:p>
          <a:endParaRPr lang="en-US" sz="2000"/>
        </a:p>
      </dgm:t>
    </dgm:pt>
    <dgm:pt modelId="{89A0579F-82D2-474D-98C9-A4F97C176C39}" type="parTrans" cxnId="{50A95B1D-2B75-425F-90C6-BE6D4EE96395}">
      <dgm:prSet/>
      <dgm:spPr/>
      <dgm:t>
        <a:bodyPr/>
        <a:lstStyle/>
        <a:p>
          <a:endParaRPr lang="en-US" sz="2000"/>
        </a:p>
      </dgm:t>
    </dgm:pt>
    <dgm:pt modelId="{75259B59-C203-4ABD-933F-CBFD8A5550A8}" type="sibTrans" cxnId="{50A95B1D-2B75-425F-90C6-BE6D4EE96395}">
      <dgm:prSet/>
      <dgm:spPr/>
      <dgm:t>
        <a:bodyPr/>
        <a:lstStyle/>
        <a:p>
          <a:endParaRPr lang="en-US" sz="2000"/>
        </a:p>
      </dgm:t>
    </dgm:pt>
    <dgm:pt modelId="{333DA66B-B83C-4543-866F-182D00903DAA}">
      <dgm:prSet/>
      <dgm:spPr/>
      <dgm:t>
        <a:bodyPr/>
        <a:lstStyle/>
        <a:p>
          <a:endParaRPr lang="en-US" sz="2000"/>
        </a:p>
      </dgm:t>
    </dgm:pt>
    <dgm:pt modelId="{53FDE5C9-F213-4E68-A5AE-ECA3F71EBF10}" type="parTrans" cxnId="{43D60677-A37C-4308-BB68-AEF810FC1861}">
      <dgm:prSet/>
      <dgm:spPr/>
      <dgm:t>
        <a:bodyPr/>
        <a:lstStyle/>
        <a:p>
          <a:endParaRPr lang="en-US" sz="2000"/>
        </a:p>
      </dgm:t>
    </dgm:pt>
    <dgm:pt modelId="{350683AA-1575-458F-9CA3-960B9C001BAD}" type="sibTrans" cxnId="{43D60677-A37C-4308-BB68-AEF810FC1861}">
      <dgm:prSet/>
      <dgm:spPr/>
      <dgm:t>
        <a:bodyPr/>
        <a:lstStyle/>
        <a:p>
          <a:endParaRPr lang="en-US" sz="2000"/>
        </a:p>
      </dgm:t>
    </dgm:pt>
    <dgm:pt modelId="{66A4EEA4-B8E7-42FA-AADE-62660554CAEE}" type="pres">
      <dgm:prSet presAssocID="{96EC876E-04C2-49D4-8418-32F99A546F7E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17D1281-5ECF-4AF6-8502-869D00089D01}" type="pres">
      <dgm:prSet presAssocID="{FFFAAFEC-6080-4589-B379-7F85A80F6C7D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62BFC6-DA0F-4E89-A5F6-3802A158C1C3}" type="pres">
      <dgm:prSet presAssocID="{FFFAAFEC-6080-4589-B379-7F85A80F6C7D}" presName="gear1srcNode" presStyleLbl="node1" presStyleIdx="0" presStyleCnt="3"/>
      <dgm:spPr/>
      <dgm:t>
        <a:bodyPr/>
        <a:lstStyle/>
        <a:p>
          <a:endParaRPr lang="en-US"/>
        </a:p>
      </dgm:t>
    </dgm:pt>
    <dgm:pt modelId="{632C900E-26CA-4779-8515-D66387929885}" type="pres">
      <dgm:prSet presAssocID="{FFFAAFEC-6080-4589-B379-7F85A80F6C7D}" presName="gear1dstNode" presStyleLbl="node1" presStyleIdx="0" presStyleCnt="3"/>
      <dgm:spPr/>
      <dgm:t>
        <a:bodyPr/>
        <a:lstStyle/>
        <a:p>
          <a:endParaRPr lang="en-US"/>
        </a:p>
      </dgm:t>
    </dgm:pt>
    <dgm:pt modelId="{9FDBEECB-E0AC-4339-A163-5C252A27303E}" type="pres">
      <dgm:prSet presAssocID="{00EC563C-E6C1-4E53-8F78-D0E956A84330}" presName="gear2" presStyleLbl="node1" presStyleIdx="1" presStyleCnt="3" custScaleX="123192" custScaleY="10848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686BA9-66B4-4B92-8229-D1DED3751287}" type="pres">
      <dgm:prSet presAssocID="{00EC563C-E6C1-4E53-8F78-D0E956A84330}" presName="gear2srcNode" presStyleLbl="node1" presStyleIdx="1" presStyleCnt="3"/>
      <dgm:spPr/>
      <dgm:t>
        <a:bodyPr/>
        <a:lstStyle/>
        <a:p>
          <a:endParaRPr lang="en-US"/>
        </a:p>
      </dgm:t>
    </dgm:pt>
    <dgm:pt modelId="{D509FB3F-6EB8-44CD-88FF-9C6552F900B9}" type="pres">
      <dgm:prSet presAssocID="{00EC563C-E6C1-4E53-8F78-D0E956A84330}" presName="gear2dstNode" presStyleLbl="node1" presStyleIdx="1" presStyleCnt="3"/>
      <dgm:spPr/>
      <dgm:t>
        <a:bodyPr/>
        <a:lstStyle/>
        <a:p>
          <a:endParaRPr lang="en-US"/>
        </a:p>
      </dgm:t>
    </dgm:pt>
    <dgm:pt modelId="{657E37E9-B4F7-4536-A3AD-8275FAC7CE09}" type="pres">
      <dgm:prSet presAssocID="{DF472CDD-C83E-46DB-BD5A-C135F350E7D0}" presName="gear3" presStyleLbl="node1" presStyleIdx="2" presStyleCnt="3"/>
      <dgm:spPr/>
      <dgm:t>
        <a:bodyPr/>
        <a:lstStyle/>
        <a:p>
          <a:endParaRPr lang="en-US"/>
        </a:p>
      </dgm:t>
    </dgm:pt>
    <dgm:pt modelId="{E07E45A4-B5C1-494A-8805-ED526F393091}" type="pres">
      <dgm:prSet presAssocID="{DF472CDD-C83E-46DB-BD5A-C135F350E7D0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749A0E-DAA7-410F-A304-FD2DE23FB5E3}" type="pres">
      <dgm:prSet presAssocID="{DF472CDD-C83E-46DB-BD5A-C135F350E7D0}" presName="gear3srcNode" presStyleLbl="node1" presStyleIdx="2" presStyleCnt="3"/>
      <dgm:spPr/>
      <dgm:t>
        <a:bodyPr/>
        <a:lstStyle/>
        <a:p>
          <a:endParaRPr lang="en-US"/>
        </a:p>
      </dgm:t>
    </dgm:pt>
    <dgm:pt modelId="{D5AD71F6-78F2-4E1B-B885-DAC8F296B4FE}" type="pres">
      <dgm:prSet presAssocID="{DF472CDD-C83E-46DB-BD5A-C135F350E7D0}" presName="gear3dstNode" presStyleLbl="node1" presStyleIdx="2" presStyleCnt="3"/>
      <dgm:spPr/>
      <dgm:t>
        <a:bodyPr/>
        <a:lstStyle/>
        <a:p>
          <a:endParaRPr lang="en-US"/>
        </a:p>
      </dgm:t>
    </dgm:pt>
    <dgm:pt modelId="{F944B9E5-A7FB-4A4B-B2BA-C6B0F24591FE}" type="pres">
      <dgm:prSet presAssocID="{1FF620F8-7E05-4FB3-928B-33251EDCB310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B99EA945-348B-4AF3-8BF3-CFD539F3055F}" type="pres">
      <dgm:prSet presAssocID="{B3D2F176-6F42-4AD7-B315-927B3E4AC848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D3CCBD97-45DC-41E4-AA20-58613DFBA4C5}" type="pres">
      <dgm:prSet presAssocID="{0DC88956-2B88-46AC-B90B-C3FEB8EE65DD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9672960E-B0C9-4034-97CC-D76293EFA784}" srcId="{96EC876E-04C2-49D4-8418-32F99A546F7E}" destId="{BA38DD74-696B-41FF-98B1-DD46A6B0A205}" srcOrd="6" destOrd="0" parTransId="{A4FF8CBE-6F3A-4C5D-9340-6A2A627487D2}" sibTransId="{5BB3ED47-0B82-4FD2-B96C-2DE968E2ADCD}"/>
    <dgm:cxn modelId="{83E8987F-22EA-4421-97E5-AF9EE6A1FD1C}" type="presOf" srcId="{FFFAAFEC-6080-4589-B379-7F85A80F6C7D}" destId="{632C900E-26CA-4779-8515-D66387929885}" srcOrd="2" destOrd="0" presId="urn:microsoft.com/office/officeart/2005/8/layout/gear1"/>
    <dgm:cxn modelId="{99C226BA-2C80-49F5-9919-699215058BC3}" type="presOf" srcId="{00EC563C-E6C1-4E53-8F78-D0E956A84330}" destId="{D509FB3F-6EB8-44CD-88FF-9C6552F900B9}" srcOrd="2" destOrd="0" presId="urn:microsoft.com/office/officeart/2005/8/layout/gear1"/>
    <dgm:cxn modelId="{FD444F46-CCD0-4AE1-9EB7-BDDC25B4C85B}" type="presOf" srcId="{B3D2F176-6F42-4AD7-B315-927B3E4AC848}" destId="{B99EA945-348B-4AF3-8BF3-CFD539F3055F}" srcOrd="0" destOrd="0" presId="urn:microsoft.com/office/officeart/2005/8/layout/gear1"/>
    <dgm:cxn modelId="{3832CEF1-16F9-4C82-ADB6-62CB7AAFCDDD}" type="presOf" srcId="{FFFAAFEC-6080-4589-B379-7F85A80F6C7D}" destId="{9462BFC6-DA0F-4E89-A5F6-3802A158C1C3}" srcOrd="1" destOrd="0" presId="urn:microsoft.com/office/officeart/2005/8/layout/gear1"/>
    <dgm:cxn modelId="{5A7B4AD7-899D-49A0-B9C6-3E2E3594CB7E}" type="presOf" srcId="{96EC876E-04C2-49D4-8418-32F99A546F7E}" destId="{66A4EEA4-B8E7-42FA-AADE-62660554CAEE}" srcOrd="0" destOrd="0" presId="urn:microsoft.com/office/officeart/2005/8/layout/gear1"/>
    <dgm:cxn modelId="{50A95B1D-2B75-425F-90C6-BE6D4EE96395}" srcId="{96EC876E-04C2-49D4-8418-32F99A546F7E}" destId="{2EACE593-1F08-49C4-B3BC-E65C562FC10B}" srcOrd="8" destOrd="0" parTransId="{89A0579F-82D2-474D-98C9-A4F97C176C39}" sibTransId="{75259B59-C203-4ABD-933F-CBFD8A5550A8}"/>
    <dgm:cxn modelId="{DD2AC7CD-4F85-4825-B041-B0A92665533E}" type="presOf" srcId="{00EC563C-E6C1-4E53-8F78-D0E956A84330}" destId="{9FDBEECB-E0AC-4339-A163-5C252A27303E}" srcOrd="0" destOrd="0" presId="urn:microsoft.com/office/officeart/2005/8/layout/gear1"/>
    <dgm:cxn modelId="{6654D612-8CA6-44D6-9414-88752926C09A}" srcId="{96EC876E-04C2-49D4-8418-32F99A546F7E}" destId="{225046EE-87C5-414E-825C-A91527131734}" srcOrd="5" destOrd="0" parTransId="{E7744019-F320-4366-AF0B-59504379AFDF}" sibTransId="{D2DFA8B3-5B95-41D9-AC4D-BF2393AA4F42}"/>
    <dgm:cxn modelId="{391BFB2F-B367-4E1E-974B-C5BFFBA12BE3}" srcId="{96EC876E-04C2-49D4-8418-32F99A546F7E}" destId="{433BE7DC-7B99-4504-B007-C1D033A0944D}" srcOrd="7" destOrd="0" parTransId="{C44F4AD7-AB9D-4B61-979D-1299BF9AB664}" sibTransId="{A1F7084C-DCAC-4AB2-A33B-14D604D80F07}"/>
    <dgm:cxn modelId="{0F9204F8-E7D8-492F-87B4-02483C0F1030}" type="presOf" srcId="{00EC563C-E6C1-4E53-8F78-D0E956A84330}" destId="{3A686BA9-66B4-4B92-8229-D1DED3751287}" srcOrd="1" destOrd="0" presId="urn:microsoft.com/office/officeart/2005/8/layout/gear1"/>
    <dgm:cxn modelId="{A0027089-D600-4F40-B1E4-7AFD56D9D419}" srcId="{96EC876E-04C2-49D4-8418-32F99A546F7E}" destId="{00EC563C-E6C1-4E53-8F78-D0E956A84330}" srcOrd="1" destOrd="0" parTransId="{61228DD8-5E5B-416E-94A3-27564AAA3576}" sibTransId="{B3D2F176-6F42-4AD7-B315-927B3E4AC848}"/>
    <dgm:cxn modelId="{045A42D1-DCCF-4B10-A093-835F754C0983}" srcId="{96EC876E-04C2-49D4-8418-32F99A546F7E}" destId="{80D80BED-C49B-4E3B-B36B-7434D6ABF8D8}" srcOrd="4" destOrd="0" parTransId="{44BBDA1A-7862-4ED9-9128-2F4E8B759511}" sibTransId="{306907F2-E1F7-490E-A82C-F4CCEED48BBB}"/>
    <dgm:cxn modelId="{B56D078E-F527-4155-9DC6-A44909E2A4F6}" srcId="{96EC876E-04C2-49D4-8418-32F99A546F7E}" destId="{FFFAAFEC-6080-4589-B379-7F85A80F6C7D}" srcOrd="0" destOrd="0" parTransId="{7597A4E2-E992-4B1C-8608-FB44002900F8}" sibTransId="{1FF620F8-7E05-4FB3-928B-33251EDCB310}"/>
    <dgm:cxn modelId="{BFFEE501-261E-4B4D-BA5B-B6673258B00D}" type="presOf" srcId="{0DC88956-2B88-46AC-B90B-C3FEB8EE65DD}" destId="{D3CCBD97-45DC-41E4-AA20-58613DFBA4C5}" srcOrd="0" destOrd="0" presId="urn:microsoft.com/office/officeart/2005/8/layout/gear1"/>
    <dgm:cxn modelId="{58FD48A1-2F02-4B69-969A-139E603496A8}" srcId="{96EC876E-04C2-49D4-8418-32F99A546F7E}" destId="{AD705F2E-0B04-416C-8092-44C1287C6F12}" srcOrd="3" destOrd="0" parTransId="{242B569F-CDE2-4BE1-93E3-F5562B746BB0}" sibTransId="{4F581BCC-3AEC-452E-9B95-7D351B2D8152}"/>
    <dgm:cxn modelId="{133955CF-EB03-4C4B-8972-ADFC5C9373E1}" type="presOf" srcId="{DF472CDD-C83E-46DB-BD5A-C135F350E7D0}" destId="{D5AD71F6-78F2-4E1B-B885-DAC8F296B4FE}" srcOrd="3" destOrd="0" presId="urn:microsoft.com/office/officeart/2005/8/layout/gear1"/>
    <dgm:cxn modelId="{6EDC81F2-8888-48D7-81E1-7DEFAEFBFB0B}" type="presOf" srcId="{DF472CDD-C83E-46DB-BD5A-C135F350E7D0}" destId="{657E37E9-B4F7-4536-A3AD-8275FAC7CE09}" srcOrd="0" destOrd="0" presId="urn:microsoft.com/office/officeart/2005/8/layout/gear1"/>
    <dgm:cxn modelId="{44C2A5FE-9992-43F0-82F0-34C3E97534D2}" srcId="{96EC876E-04C2-49D4-8418-32F99A546F7E}" destId="{DF472CDD-C83E-46DB-BD5A-C135F350E7D0}" srcOrd="2" destOrd="0" parTransId="{A913F13E-C7DC-4710-841D-DFF09B5E1C89}" sibTransId="{0DC88956-2B88-46AC-B90B-C3FEB8EE65DD}"/>
    <dgm:cxn modelId="{F00B2B67-6FFD-4241-946D-3B5904408EB5}" type="presOf" srcId="{FFFAAFEC-6080-4589-B379-7F85A80F6C7D}" destId="{517D1281-5ECF-4AF6-8502-869D00089D01}" srcOrd="0" destOrd="0" presId="urn:microsoft.com/office/officeart/2005/8/layout/gear1"/>
    <dgm:cxn modelId="{DFA6DCDA-3701-42EC-8BBA-1A60C6DE62D2}" type="presOf" srcId="{DF472CDD-C83E-46DB-BD5A-C135F350E7D0}" destId="{22749A0E-DAA7-410F-A304-FD2DE23FB5E3}" srcOrd="2" destOrd="0" presId="urn:microsoft.com/office/officeart/2005/8/layout/gear1"/>
    <dgm:cxn modelId="{1DD829AF-A1E8-415A-825E-A905C2616A56}" type="presOf" srcId="{1FF620F8-7E05-4FB3-928B-33251EDCB310}" destId="{F944B9E5-A7FB-4A4B-B2BA-C6B0F24591FE}" srcOrd="0" destOrd="0" presId="urn:microsoft.com/office/officeart/2005/8/layout/gear1"/>
    <dgm:cxn modelId="{3F1D05B4-EBA1-4E65-9E27-F019A546DFB4}" type="presOf" srcId="{DF472CDD-C83E-46DB-BD5A-C135F350E7D0}" destId="{E07E45A4-B5C1-494A-8805-ED526F393091}" srcOrd="1" destOrd="0" presId="urn:microsoft.com/office/officeart/2005/8/layout/gear1"/>
    <dgm:cxn modelId="{43D60677-A37C-4308-BB68-AEF810FC1861}" srcId="{96EC876E-04C2-49D4-8418-32F99A546F7E}" destId="{333DA66B-B83C-4543-866F-182D00903DAA}" srcOrd="9" destOrd="0" parTransId="{53FDE5C9-F213-4E68-A5AE-ECA3F71EBF10}" sibTransId="{350683AA-1575-458F-9CA3-960B9C001BAD}"/>
    <dgm:cxn modelId="{8755F744-9747-4AFB-84ED-56D5FC446EA3}" type="presParOf" srcId="{66A4EEA4-B8E7-42FA-AADE-62660554CAEE}" destId="{517D1281-5ECF-4AF6-8502-869D00089D01}" srcOrd="0" destOrd="0" presId="urn:microsoft.com/office/officeart/2005/8/layout/gear1"/>
    <dgm:cxn modelId="{0105B233-F4EB-4109-BA66-7DF1D22C8B85}" type="presParOf" srcId="{66A4EEA4-B8E7-42FA-AADE-62660554CAEE}" destId="{9462BFC6-DA0F-4E89-A5F6-3802A158C1C3}" srcOrd="1" destOrd="0" presId="urn:microsoft.com/office/officeart/2005/8/layout/gear1"/>
    <dgm:cxn modelId="{EBA8B58C-E3D5-4D80-9EB0-CFFC91925C7C}" type="presParOf" srcId="{66A4EEA4-B8E7-42FA-AADE-62660554CAEE}" destId="{632C900E-26CA-4779-8515-D66387929885}" srcOrd="2" destOrd="0" presId="urn:microsoft.com/office/officeart/2005/8/layout/gear1"/>
    <dgm:cxn modelId="{83E6737E-CE9B-4EED-BE24-C43D2BB5410F}" type="presParOf" srcId="{66A4EEA4-B8E7-42FA-AADE-62660554CAEE}" destId="{9FDBEECB-E0AC-4339-A163-5C252A27303E}" srcOrd="3" destOrd="0" presId="urn:microsoft.com/office/officeart/2005/8/layout/gear1"/>
    <dgm:cxn modelId="{2AE90924-74B4-448C-8A30-F24C626E339D}" type="presParOf" srcId="{66A4EEA4-B8E7-42FA-AADE-62660554CAEE}" destId="{3A686BA9-66B4-4B92-8229-D1DED3751287}" srcOrd="4" destOrd="0" presId="urn:microsoft.com/office/officeart/2005/8/layout/gear1"/>
    <dgm:cxn modelId="{BF6E3444-181A-498E-A5A5-1B38966BB9C6}" type="presParOf" srcId="{66A4EEA4-B8E7-42FA-AADE-62660554CAEE}" destId="{D509FB3F-6EB8-44CD-88FF-9C6552F900B9}" srcOrd="5" destOrd="0" presId="urn:microsoft.com/office/officeart/2005/8/layout/gear1"/>
    <dgm:cxn modelId="{0CC6C689-EA80-494B-A505-2538668FAA27}" type="presParOf" srcId="{66A4EEA4-B8E7-42FA-AADE-62660554CAEE}" destId="{657E37E9-B4F7-4536-A3AD-8275FAC7CE09}" srcOrd="6" destOrd="0" presId="urn:microsoft.com/office/officeart/2005/8/layout/gear1"/>
    <dgm:cxn modelId="{B4EEDBEF-629E-428A-9AC4-804E3833317A}" type="presParOf" srcId="{66A4EEA4-B8E7-42FA-AADE-62660554CAEE}" destId="{E07E45A4-B5C1-494A-8805-ED526F393091}" srcOrd="7" destOrd="0" presId="urn:microsoft.com/office/officeart/2005/8/layout/gear1"/>
    <dgm:cxn modelId="{DAB0DA03-5337-44C1-B4C8-33E53AA94012}" type="presParOf" srcId="{66A4EEA4-B8E7-42FA-AADE-62660554CAEE}" destId="{22749A0E-DAA7-410F-A304-FD2DE23FB5E3}" srcOrd="8" destOrd="0" presId="urn:microsoft.com/office/officeart/2005/8/layout/gear1"/>
    <dgm:cxn modelId="{E4FA8019-623F-4435-ABE3-C493DD538FE3}" type="presParOf" srcId="{66A4EEA4-B8E7-42FA-AADE-62660554CAEE}" destId="{D5AD71F6-78F2-4E1B-B885-DAC8F296B4FE}" srcOrd="9" destOrd="0" presId="urn:microsoft.com/office/officeart/2005/8/layout/gear1"/>
    <dgm:cxn modelId="{4630641F-080B-45E0-B261-4B115A3B4462}" type="presParOf" srcId="{66A4EEA4-B8E7-42FA-AADE-62660554CAEE}" destId="{F944B9E5-A7FB-4A4B-B2BA-C6B0F24591FE}" srcOrd="10" destOrd="0" presId="urn:microsoft.com/office/officeart/2005/8/layout/gear1"/>
    <dgm:cxn modelId="{DCDC10E3-C77F-4365-B47E-15CB0DF04752}" type="presParOf" srcId="{66A4EEA4-B8E7-42FA-AADE-62660554CAEE}" destId="{B99EA945-348B-4AF3-8BF3-CFD539F3055F}" srcOrd="11" destOrd="0" presId="urn:microsoft.com/office/officeart/2005/8/layout/gear1"/>
    <dgm:cxn modelId="{0D3C256E-B31E-4C18-AF62-2D451BF0ED65}" type="presParOf" srcId="{66A4EEA4-B8E7-42FA-AADE-62660554CAEE}" destId="{D3CCBD97-45DC-41E4-AA20-58613DFBA4C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29AB371-6151-4A11-9D7D-F47B5A743D64}" type="doc">
      <dgm:prSet loTypeId="urn:microsoft.com/office/officeart/2005/8/layout/gear1" loCatId="cycle" qsTypeId="urn:microsoft.com/office/officeart/2005/8/quickstyle/simple1" qsCatId="simple" csTypeId="urn:microsoft.com/office/officeart/2005/8/colors/colorful5" csCatId="colorful" phldr="1"/>
      <dgm:spPr/>
    </dgm:pt>
    <dgm:pt modelId="{0F536AF1-1D85-473F-B295-A2EA44D0DE10}">
      <dgm:prSet phldrT="[Text]" custT="1"/>
      <dgm:spPr/>
      <dgm:t>
        <a:bodyPr/>
        <a:lstStyle/>
        <a:p>
          <a:r>
            <a:rPr lang="cs-CZ" sz="1600" dirty="0" smtClean="0"/>
            <a:t>Oživení vývozu – ano ale při rostoucí zahraniční poptávce</a:t>
          </a:r>
          <a:endParaRPr lang="en-US" sz="1600" dirty="0"/>
        </a:p>
      </dgm:t>
    </dgm:pt>
    <dgm:pt modelId="{7D84A679-B1DE-4105-A8F8-2E3290588109}" type="parTrans" cxnId="{DEDF0C21-521C-4BBC-A0A0-B624439EEF3D}">
      <dgm:prSet/>
      <dgm:spPr/>
      <dgm:t>
        <a:bodyPr/>
        <a:lstStyle/>
        <a:p>
          <a:endParaRPr lang="en-US" sz="2400"/>
        </a:p>
      </dgm:t>
    </dgm:pt>
    <dgm:pt modelId="{3200854E-5D90-4858-8EEB-BB7BFF22A11E}" type="sibTrans" cxnId="{DEDF0C21-521C-4BBC-A0A0-B624439EEF3D}">
      <dgm:prSet/>
      <dgm:spPr/>
      <dgm:t>
        <a:bodyPr/>
        <a:lstStyle/>
        <a:p>
          <a:endParaRPr lang="en-US" sz="2400"/>
        </a:p>
      </dgm:t>
    </dgm:pt>
    <dgm:pt modelId="{2F0E14CD-B9EE-4610-8979-D8C6ED54E70B}">
      <dgm:prSet phldrT="[Text]" custT="1"/>
      <dgm:spPr/>
      <dgm:t>
        <a:bodyPr/>
        <a:lstStyle/>
        <a:p>
          <a:r>
            <a:rPr lang="cs-CZ" sz="1600" dirty="0" smtClean="0"/>
            <a:t>Objemový efekt (pozitivní)</a:t>
          </a:r>
          <a:endParaRPr lang="en-US" sz="1600" dirty="0"/>
        </a:p>
      </dgm:t>
    </dgm:pt>
    <dgm:pt modelId="{8276AF3B-B943-4861-9CDA-496CCD016893}" type="parTrans" cxnId="{A2A04E8B-6C51-4212-8DAE-69697C87DDA2}">
      <dgm:prSet/>
      <dgm:spPr/>
      <dgm:t>
        <a:bodyPr/>
        <a:lstStyle/>
        <a:p>
          <a:endParaRPr lang="en-US" sz="2400"/>
        </a:p>
      </dgm:t>
    </dgm:pt>
    <dgm:pt modelId="{696D0C86-FA5A-4DA1-88AD-2C8CD67171C8}" type="sibTrans" cxnId="{A2A04E8B-6C51-4212-8DAE-69697C87DDA2}">
      <dgm:prSet/>
      <dgm:spPr/>
      <dgm:t>
        <a:bodyPr/>
        <a:lstStyle/>
        <a:p>
          <a:endParaRPr lang="en-US" sz="2400"/>
        </a:p>
      </dgm:t>
    </dgm:pt>
    <dgm:pt modelId="{EFB284E9-7D8B-4F90-A131-0C8EE66DEE71}">
      <dgm:prSet phldrT="[Text]" custT="1"/>
      <dgm:spPr/>
      <dgm:t>
        <a:bodyPr/>
        <a:lstStyle/>
        <a:p>
          <a:r>
            <a:rPr lang="cs-CZ" sz="1600" dirty="0" smtClean="0"/>
            <a:t>Cenový efekt (nejprve negativní)</a:t>
          </a:r>
          <a:endParaRPr lang="en-US" sz="1600" dirty="0"/>
        </a:p>
      </dgm:t>
    </dgm:pt>
    <dgm:pt modelId="{2CDF334D-800A-469E-BC7F-92680D9A9AD2}" type="parTrans" cxnId="{622FE698-A2E3-4542-A337-B9D7DABAED84}">
      <dgm:prSet/>
      <dgm:spPr/>
      <dgm:t>
        <a:bodyPr/>
        <a:lstStyle/>
        <a:p>
          <a:endParaRPr lang="en-US" sz="2400"/>
        </a:p>
      </dgm:t>
    </dgm:pt>
    <dgm:pt modelId="{9026A51B-4C9A-421D-AB93-604D7250CD82}" type="sibTrans" cxnId="{622FE698-A2E3-4542-A337-B9D7DABAED84}">
      <dgm:prSet/>
      <dgm:spPr/>
      <dgm:t>
        <a:bodyPr/>
        <a:lstStyle/>
        <a:p>
          <a:endParaRPr lang="en-US" sz="2400"/>
        </a:p>
      </dgm:t>
    </dgm:pt>
    <dgm:pt modelId="{8B2EAF67-FCF7-4E42-9D08-DADFE510E84D}" type="pres">
      <dgm:prSet presAssocID="{229AB371-6151-4A11-9D7D-F47B5A743D64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00B9D108-BC4F-4E27-8F4A-B6D39D347983}" type="pres">
      <dgm:prSet presAssocID="{0F536AF1-1D85-473F-B295-A2EA44D0DE10}" presName="gear1" presStyleLbl="node1" presStyleIdx="0" presStyleCnt="3" custLinFactNeighborX="2242" custLinFactNeighborY="-897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C05559-B856-4D21-B76F-CD9D725C1FC0}" type="pres">
      <dgm:prSet presAssocID="{0F536AF1-1D85-473F-B295-A2EA44D0DE10}" presName="gear1srcNode" presStyleLbl="node1" presStyleIdx="0" presStyleCnt="3"/>
      <dgm:spPr/>
      <dgm:t>
        <a:bodyPr/>
        <a:lstStyle/>
        <a:p>
          <a:endParaRPr lang="en-US"/>
        </a:p>
      </dgm:t>
    </dgm:pt>
    <dgm:pt modelId="{821E0F0D-1B7B-49C9-9F58-31892C00F510}" type="pres">
      <dgm:prSet presAssocID="{0F536AF1-1D85-473F-B295-A2EA44D0DE10}" presName="gear1dstNode" presStyleLbl="node1" presStyleIdx="0" presStyleCnt="3"/>
      <dgm:spPr/>
      <dgm:t>
        <a:bodyPr/>
        <a:lstStyle/>
        <a:p>
          <a:endParaRPr lang="en-US"/>
        </a:p>
      </dgm:t>
    </dgm:pt>
    <dgm:pt modelId="{4CE98631-9218-4F94-B490-1A76A95AC527}" type="pres">
      <dgm:prSet presAssocID="{2F0E14CD-B9EE-4610-8979-D8C6ED54E70B}" presName="gear2" presStyleLbl="node1" presStyleIdx="1" presStyleCnt="3" custScaleX="115761" custScaleY="10848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1F7A05-5345-4175-A05E-419E305CEA3A}" type="pres">
      <dgm:prSet presAssocID="{2F0E14CD-B9EE-4610-8979-D8C6ED54E70B}" presName="gear2srcNode" presStyleLbl="node1" presStyleIdx="1" presStyleCnt="3"/>
      <dgm:spPr/>
      <dgm:t>
        <a:bodyPr/>
        <a:lstStyle/>
        <a:p>
          <a:endParaRPr lang="en-US"/>
        </a:p>
      </dgm:t>
    </dgm:pt>
    <dgm:pt modelId="{7AD4B04A-30AD-4E17-9D9F-4D62A5785BDF}" type="pres">
      <dgm:prSet presAssocID="{2F0E14CD-B9EE-4610-8979-D8C6ED54E70B}" presName="gear2dstNode" presStyleLbl="node1" presStyleIdx="1" presStyleCnt="3"/>
      <dgm:spPr/>
      <dgm:t>
        <a:bodyPr/>
        <a:lstStyle/>
        <a:p>
          <a:endParaRPr lang="en-US"/>
        </a:p>
      </dgm:t>
    </dgm:pt>
    <dgm:pt modelId="{6B4F6972-11CE-4D38-A1E6-2E6EB64CB1CF}" type="pres">
      <dgm:prSet presAssocID="{EFB284E9-7D8B-4F90-A131-0C8EE66DEE71}" presName="gear3" presStyleLbl="node1" presStyleIdx="2" presStyleCnt="3" custScaleX="109870" custScaleY="105360" custLinFactNeighborX="11386" custLinFactNeighborY="-1627"/>
      <dgm:spPr/>
      <dgm:t>
        <a:bodyPr/>
        <a:lstStyle/>
        <a:p>
          <a:endParaRPr lang="en-US"/>
        </a:p>
      </dgm:t>
    </dgm:pt>
    <dgm:pt modelId="{3D43A610-4196-4346-9006-44C92E60900F}" type="pres">
      <dgm:prSet presAssocID="{EFB284E9-7D8B-4F90-A131-0C8EE66DEE71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63CD58-ADEB-4FF7-9413-C5E263EC5D39}" type="pres">
      <dgm:prSet presAssocID="{EFB284E9-7D8B-4F90-A131-0C8EE66DEE71}" presName="gear3srcNode" presStyleLbl="node1" presStyleIdx="2" presStyleCnt="3"/>
      <dgm:spPr/>
      <dgm:t>
        <a:bodyPr/>
        <a:lstStyle/>
        <a:p>
          <a:endParaRPr lang="en-US"/>
        </a:p>
      </dgm:t>
    </dgm:pt>
    <dgm:pt modelId="{37C7C0E7-B1CD-4BA9-900C-1F755785CB44}" type="pres">
      <dgm:prSet presAssocID="{EFB284E9-7D8B-4F90-A131-0C8EE66DEE71}" presName="gear3dstNode" presStyleLbl="node1" presStyleIdx="2" presStyleCnt="3"/>
      <dgm:spPr/>
      <dgm:t>
        <a:bodyPr/>
        <a:lstStyle/>
        <a:p>
          <a:endParaRPr lang="en-US"/>
        </a:p>
      </dgm:t>
    </dgm:pt>
    <dgm:pt modelId="{8087BAE0-FF9E-49F7-B9CE-99A60EED2E96}" type="pres">
      <dgm:prSet presAssocID="{3200854E-5D90-4858-8EEB-BB7BFF22A11E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AFD73789-F5D2-480D-A105-16EF43C52848}" type="pres">
      <dgm:prSet presAssocID="{696D0C86-FA5A-4DA1-88AD-2C8CD67171C8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623BB21E-80F9-437F-A7E4-F51AE45F1EE2}" type="pres">
      <dgm:prSet presAssocID="{9026A51B-4C9A-421D-AB93-604D7250CD82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D7CF0DE9-8677-4619-9E7A-B49A3174AC95}" type="presOf" srcId="{EFB284E9-7D8B-4F90-A131-0C8EE66DEE71}" destId="{3D43A610-4196-4346-9006-44C92E60900F}" srcOrd="1" destOrd="0" presId="urn:microsoft.com/office/officeart/2005/8/layout/gear1"/>
    <dgm:cxn modelId="{4AFFD2FF-3F38-4410-A1E2-88DA98EB71C2}" type="presOf" srcId="{2F0E14CD-B9EE-4610-8979-D8C6ED54E70B}" destId="{7AD4B04A-30AD-4E17-9D9F-4D62A5785BDF}" srcOrd="2" destOrd="0" presId="urn:microsoft.com/office/officeart/2005/8/layout/gear1"/>
    <dgm:cxn modelId="{8AFB2EC9-7C31-4C3F-A9B6-E1DC0EF5BA4E}" type="presOf" srcId="{0F536AF1-1D85-473F-B295-A2EA44D0DE10}" destId="{821E0F0D-1B7B-49C9-9F58-31892C00F510}" srcOrd="2" destOrd="0" presId="urn:microsoft.com/office/officeart/2005/8/layout/gear1"/>
    <dgm:cxn modelId="{2C4872AC-06B5-47B3-BD53-27C107F88227}" type="presOf" srcId="{9026A51B-4C9A-421D-AB93-604D7250CD82}" destId="{623BB21E-80F9-437F-A7E4-F51AE45F1EE2}" srcOrd="0" destOrd="0" presId="urn:microsoft.com/office/officeart/2005/8/layout/gear1"/>
    <dgm:cxn modelId="{7D3B718E-5B52-490A-91D4-8230F8198139}" type="presOf" srcId="{229AB371-6151-4A11-9D7D-F47B5A743D64}" destId="{8B2EAF67-FCF7-4E42-9D08-DADFE510E84D}" srcOrd="0" destOrd="0" presId="urn:microsoft.com/office/officeart/2005/8/layout/gear1"/>
    <dgm:cxn modelId="{A2A04E8B-6C51-4212-8DAE-69697C87DDA2}" srcId="{229AB371-6151-4A11-9D7D-F47B5A743D64}" destId="{2F0E14CD-B9EE-4610-8979-D8C6ED54E70B}" srcOrd="1" destOrd="0" parTransId="{8276AF3B-B943-4861-9CDA-496CCD016893}" sibTransId="{696D0C86-FA5A-4DA1-88AD-2C8CD67171C8}"/>
    <dgm:cxn modelId="{83A0D827-B608-4E80-B70D-6C3E23186E1D}" type="presOf" srcId="{2F0E14CD-B9EE-4610-8979-D8C6ED54E70B}" destId="{961F7A05-5345-4175-A05E-419E305CEA3A}" srcOrd="1" destOrd="0" presId="urn:microsoft.com/office/officeart/2005/8/layout/gear1"/>
    <dgm:cxn modelId="{B906A581-7EEB-4432-A49E-034ACD6FB5EF}" type="presOf" srcId="{2F0E14CD-B9EE-4610-8979-D8C6ED54E70B}" destId="{4CE98631-9218-4F94-B490-1A76A95AC527}" srcOrd="0" destOrd="0" presId="urn:microsoft.com/office/officeart/2005/8/layout/gear1"/>
    <dgm:cxn modelId="{ECF68218-6A91-4C2A-84FF-453D74C6FE24}" type="presOf" srcId="{EFB284E9-7D8B-4F90-A131-0C8EE66DEE71}" destId="{6B4F6972-11CE-4D38-A1E6-2E6EB64CB1CF}" srcOrd="0" destOrd="0" presId="urn:microsoft.com/office/officeart/2005/8/layout/gear1"/>
    <dgm:cxn modelId="{C16AE869-5EE6-47A6-A931-3AC379455FE6}" type="presOf" srcId="{0F536AF1-1D85-473F-B295-A2EA44D0DE10}" destId="{00B9D108-BC4F-4E27-8F4A-B6D39D347983}" srcOrd="0" destOrd="0" presId="urn:microsoft.com/office/officeart/2005/8/layout/gear1"/>
    <dgm:cxn modelId="{597613AF-1D60-4E33-8E4E-7BFC58D46567}" type="presOf" srcId="{0F536AF1-1D85-473F-B295-A2EA44D0DE10}" destId="{59C05559-B856-4D21-B76F-CD9D725C1FC0}" srcOrd="1" destOrd="0" presId="urn:microsoft.com/office/officeart/2005/8/layout/gear1"/>
    <dgm:cxn modelId="{DEDF0C21-521C-4BBC-A0A0-B624439EEF3D}" srcId="{229AB371-6151-4A11-9D7D-F47B5A743D64}" destId="{0F536AF1-1D85-473F-B295-A2EA44D0DE10}" srcOrd="0" destOrd="0" parTransId="{7D84A679-B1DE-4105-A8F8-2E3290588109}" sibTransId="{3200854E-5D90-4858-8EEB-BB7BFF22A11E}"/>
    <dgm:cxn modelId="{7BA4F39A-9265-4A21-B291-CD658692087F}" type="presOf" srcId="{EFB284E9-7D8B-4F90-A131-0C8EE66DEE71}" destId="{AA63CD58-ADEB-4FF7-9413-C5E263EC5D39}" srcOrd="2" destOrd="0" presId="urn:microsoft.com/office/officeart/2005/8/layout/gear1"/>
    <dgm:cxn modelId="{2306DE89-ACA0-4033-B226-75451A77F9D4}" type="presOf" srcId="{EFB284E9-7D8B-4F90-A131-0C8EE66DEE71}" destId="{37C7C0E7-B1CD-4BA9-900C-1F755785CB44}" srcOrd="3" destOrd="0" presId="urn:microsoft.com/office/officeart/2005/8/layout/gear1"/>
    <dgm:cxn modelId="{45133B75-1618-43CF-9314-A86DB83941F1}" type="presOf" srcId="{696D0C86-FA5A-4DA1-88AD-2C8CD67171C8}" destId="{AFD73789-F5D2-480D-A105-16EF43C52848}" srcOrd="0" destOrd="0" presId="urn:microsoft.com/office/officeart/2005/8/layout/gear1"/>
    <dgm:cxn modelId="{EF0131F1-5F0D-408C-9486-4E9E7735320A}" type="presOf" srcId="{3200854E-5D90-4858-8EEB-BB7BFF22A11E}" destId="{8087BAE0-FF9E-49F7-B9CE-99A60EED2E96}" srcOrd="0" destOrd="0" presId="urn:microsoft.com/office/officeart/2005/8/layout/gear1"/>
    <dgm:cxn modelId="{622FE698-A2E3-4542-A337-B9D7DABAED84}" srcId="{229AB371-6151-4A11-9D7D-F47B5A743D64}" destId="{EFB284E9-7D8B-4F90-A131-0C8EE66DEE71}" srcOrd="2" destOrd="0" parTransId="{2CDF334D-800A-469E-BC7F-92680D9A9AD2}" sibTransId="{9026A51B-4C9A-421D-AB93-604D7250CD82}"/>
    <dgm:cxn modelId="{7C4A00B1-C9D5-4C77-9E3D-B1F0E6132C05}" type="presParOf" srcId="{8B2EAF67-FCF7-4E42-9D08-DADFE510E84D}" destId="{00B9D108-BC4F-4E27-8F4A-B6D39D347983}" srcOrd="0" destOrd="0" presId="urn:microsoft.com/office/officeart/2005/8/layout/gear1"/>
    <dgm:cxn modelId="{D0219A88-4626-4137-B129-02F167A10A44}" type="presParOf" srcId="{8B2EAF67-FCF7-4E42-9D08-DADFE510E84D}" destId="{59C05559-B856-4D21-B76F-CD9D725C1FC0}" srcOrd="1" destOrd="0" presId="urn:microsoft.com/office/officeart/2005/8/layout/gear1"/>
    <dgm:cxn modelId="{3214F66A-1F9B-4952-83EC-284852AE4FE2}" type="presParOf" srcId="{8B2EAF67-FCF7-4E42-9D08-DADFE510E84D}" destId="{821E0F0D-1B7B-49C9-9F58-31892C00F510}" srcOrd="2" destOrd="0" presId="urn:microsoft.com/office/officeart/2005/8/layout/gear1"/>
    <dgm:cxn modelId="{348992D3-90A2-4AAF-AD69-0D8741AE5801}" type="presParOf" srcId="{8B2EAF67-FCF7-4E42-9D08-DADFE510E84D}" destId="{4CE98631-9218-4F94-B490-1A76A95AC527}" srcOrd="3" destOrd="0" presId="urn:microsoft.com/office/officeart/2005/8/layout/gear1"/>
    <dgm:cxn modelId="{97E70706-F677-409A-9A83-E0CB65F525EC}" type="presParOf" srcId="{8B2EAF67-FCF7-4E42-9D08-DADFE510E84D}" destId="{961F7A05-5345-4175-A05E-419E305CEA3A}" srcOrd="4" destOrd="0" presId="urn:microsoft.com/office/officeart/2005/8/layout/gear1"/>
    <dgm:cxn modelId="{540B83D1-B768-4BB3-8136-53F02CF5B7CB}" type="presParOf" srcId="{8B2EAF67-FCF7-4E42-9D08-DADFE510E84D}" destId="{7AD4B04A-30AD-4E17-9D9F-4D62A5785BDF}" srcOrd="5" destOrd="0" presId="urn:microsoft.com/office/officeart/2005/8/layout/gear1"/>
    <dgm:cxn modelId="{82BDD2C3-1698-464C-84D4-70BEE14084C9}" type="presParOf" srcId="{8B2EAF67-FCF7-4E42-9D08-DADFE510E84D}" destId="{6B4F6972-11CE-4D38-A1E6-2E6EB64CB1CF}" srcOrd="6" destOrd="0" presId="urn:microsoft.com/office/officeart/2005/8/layout/gear1"/>
    <dgm:cxn modelId="{791FFF7F-FC06-4A6F-B0DF-F81245F42378}" type="presParOf" srcId="{8B2EAF67-FCF7-4E42-9D08-DADFE510E84D}" destId="{3D43A610-4196-4346-9006-44C92E60900F}" srcOrd="7" destOrd="0" presId="urn:microsoft.com/office/officeart/2005/8/layout/gear1"/>
    <dgm:cxn modelId="{07D9ACE0-167D-4EC3-B432-3C1C329D67E7}" type="presParOf" srcId="{8B2EAF67-FCF7-4E42-9D08-DADFE510E84D}" destId="{AA63CD58-ADEB-4FF7-9413-C5E263EC5D39}" srcOrd="8" destOrd="0" presId="urn:microsoft.com/office/officeart/2005/8/layout/gear1"/>
    <dgm:cxn modelId="{FDE5C0D6-4A97-4D56-ABB0-7255EAA5B32B}" type="presParOf" srcId="{8B2EAF67-FCF7-4E42-9D08-DADFE510E84D}" destId="{37C7C0E7-B1CD-4BA9-900C-1F755785CB44}" srcOrd="9" destOrd="0" presId="urn:microsoft.com/office/officeart/2005/8/layout/gear1"/>
    <dgm:cxn modelId="{B31752ED-EC8A-47CF-A195-AD8B05466BFA}" type="presParOf" srcId="{8B2EAF67-FCF7-4E42-9D08-DADFE510E84D}" destId="{8087BAE0-FF9E-49F7-B9CE-99A60EED2E96}" srcOrd="10" destOrd="0" presId="urn:microsoft.com/office/officeart/2005/8/layout/gear1"/>
    <dgm:cxn modelId="{55A4E434-DE37-4856-98F7-FA4B8E7A92A7}" type="presParOf" srcId="{8B2EAF67-FCF7-4E42-9D08-DADFE510E84D}" destId="{AFD73789-F5D2-480D-A105-16EF43C52848}" srcOrd="11" destOrd="0" presId="urn:microsoft.com/office/officeart/2005/8/layout/gear1"/>
    <dgm:cxn modelId="{907E3ED3-0939-47C8-8069-42532C4FA530}" type="presParOf" srcId="{8B2EAF67-FCF7-4E42-9D08-DADFE510E84D}" destId="{623BB21E-80F9-437F-A7E4-F51AE45F1EE2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9749FE7-D142-46D6-A0CA-60AEB8366107}" type="doc">
      <dgm:prSet loTypeId="urn:microsoft.com/office/officeart/2005/8/layout/equation1" loCatId="relationship" qsTypeId="urn:microsoft.com/office/officeart/2005/8/quickstyle/simple1" qsCatId="simple" csTypeId="urn:microsoft.com/office/officeart/2005/8/colors/colorful5" csCatId="colorful" phldr="1"/>
      <dgm:spPr/>
    </dgm:pt>
    <dgm:pt modelId="{C204973B-1E45-499A-B5E8-B6AF51B18355}">
      <dgm:prSet phldrT="[Text]" custT="1"/>
      <dgm:spPr>
        <a:solidFill>
          <a:srgbClr val="FF0000"/>
        </a:solidFill>
      </dgm:spPr>
      <dgm:t>
        <a:bodyPr/>
        <a:lstStyle/>
        <a:p>
          <a:r>
            <a:rPr lang="cs-CZ" sz="1800" dirty="0" smtClean="0"/>
            <a:t>Úspory ze zahraničí</a:t>
          </a:r>
          <a:endParaRPr lang="en-US" sz="1800" dirty="0"/>
        </a:p>
      </dgm:t>
    </dgm:pt>
    <dgm:pt modelId="{83C06022-AC22-4932-AEFE-D244E591FAD3}" type="parTrans" cxnId="{61124430-6E0B-43FD-8989-694E17FDC4DE}">
      <dgm:prSet/>
      <dgm:spPr/>
      <dgm:t>
        <a:bodyPr/>
        <a:lstStyle/>
        <a:p>
          <a:endParaRPr lang="en-US"/>
        </a:p>
      </dgm:t>
    </dgm:pt>
    <dgm:pt modelId="{F201583F-C78C-48C6-96E0-87051B40C042}" type="sibTrans" cxnId="{61124430-6E0B-43FD-8989-694E17FDC4DE}">
      <dgm:prSet/>
      <dgm:spPr>
        <a:solidFill>
          <a:srgbClr val="FF0000"/>
        </a:solidFill>
      </dgm:spPr>
      <dgm:t>
        <a:bodyPr/>
        <a:lstStyle/>
        <a:p>
          <a:endParaRPr lang="en-US"/>
        </a:p>
      </dgm:t>
    </dgm:pt>
    <dgm:pt modelId="{626150F5-5BEA-40AC-9B34-413631BA2C31}">
      <dgm:prSet phldrT="[Text]" custT="1"/>
      <dgm:spPr>
        <a:solidFill>
          <a:srgbClr val="C00000"/>
        </a:solidFill>
      </dgm:spPr>
      <dgm:t>
        <a:bodyPr/>
        <a:lstStyle/>
        <a:p>
          <a:r>
            <a:rPr lang="cs-CZ" sz="1800" dirty="0" smtClean="0"/>
            <a:t>Národní investice</a:t>
          </a:r>
          <a:endParaRPr lang="en-US" sz="1800" dirty="0"/>
        </a:p>
      </dgm:t>
    </dgm:pt>
    <dgm:pt modelId="{54BDFF88-8A41-4080-9167-523E60120ED9}" type="parTrans" cxnId="{3E61B549-8EB5-43E4-87B1-E93AE2B2FDD7}">
      <dgm:prSet/>
      <dgm:spPr/>
      <dgm:t>
        <a:bodyPr/>
        <a:lstStyle/>
        <a:p>
          <a:endParaRPr lang="en-US"/>
        </a:p>
      </dgm:t>
    </dgm:pt>
    <dgm:pt modelId="{8FDA9BAC-0229-4444-9DEF-B40C97A6AF9F}" type="sibTrans" cxnId="{3E61B549-8EB5-43E4-87B1-E93AE2B2FDD7}">
      <dgm:prSet/>
      <dgm:spPr/>
      <dgm:t>
        <a:bodyPr/>
        <a:lstStyle/>
        <a:p>
          <a:endParaRPr lang="en-US"/>
        </a:p>
      </dgm:t>
    </dgm:pt>
    <dgm:pt modelId="{56C6D5D1-2492-4BE6-80B1-0974C7615D70}">
      <dgm:prSet custT="1"/>
      <dgm:spPr>
        <a:solidFill>
          <a:srgbClr val="FF6600"/>
        </a:solidFill>
      </dgm:spPr>
      <dgm:t>
        <a:bodyPr/>
        <a:lstStyle/>
        <a:p>
          <a:r>
            <a:rPr lang="cs-CZ" sz="1800" dirty="0" smtClean="0"/>
            <a:t>Národní úspory</a:t>
          </a:r>
          <a:endParaRPr lang="en-US" sz="1800" dirty="0"/>
        </a:p>
      </dgm:t>
    </dgm:pt>
    <dgm:pt modelId="{E662C2F6-73B6-414D-9D4A-EAA586393D47}" type="parTrans" cxnId="{2B8D7AF2-3226-4620-8493-0ECE0A856AFF}">
      <dgm:prSet/>
      <dgm:spPr/>
      <dgm:t>
        <a:bodyPr/>
        <a:lstStyle/>
        <a:p>
          <a:endParaRPr lang="en-US"/>
        </a:p>
      </dgm:t>
    </dgm:pt>
    <dgm:pt modelId="{A47D43C3-4DE6-49DC-B16A-862B41FDBFE1}" type="sibTrans" cxnId="{2B8D7AF2-3226-4620-8493-0ECE0A856AFF}">
      <dgm:prSet/>
      <dgm:spPr>
        <a:solidFill>
          <a:srgbClr val="FF6600"/>
        </a:solidFill>
      </dgm:spPr>
      <dgm:t>
        <a:bodyPr/>
        <a:lstStyle/>
        <a:p>
          <a:endParaRPr lang="en-US"/>
        </a:p>
      </dgm:t>
    </dgm:pt>
    <dgm:pt modelId="{9BCFC283-5740-4D6F-95D6-47E4D244E3EE}" type="pres">
      <dgm:prSet presAssocID="{E9749FE7-D142-46D6-A0CA-60AEB8366107}" presName="linearFlow" presStyleCnt="0">
        <dgm:presLayoutVars>
          <dgm:dir/>
          <dgm:resizeHandles val="exact"/>
        </dgm:presLayoutVars>
      </dgm:prSet>
      <dgm:spPr/>
    </dgm:pt>
    <dgm:pt modelId="{227E5167-CB81-4FA2-B845-88C784C0FB32}" type="pres">
      <dgm:prSet presAssocID="{56C6D5D1-2492-4BE6-80B1-0974C7615D70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554792-E511-4799-9788-FE20870A8D01}" type="pres">
      <dgm:prSet presAssocID="{A47D43C3-4DE6-49DC-B16A-862B41FDBFE1}" presName="spacerL" presStyleCnt="0"/>
      <dgm:spPr/>
    </dgm:pt>
    <dgm:pt modelId="{704933BF-87C6-4505-A243-7573030095A1}" type="pres">
      <dgm:prSet presAssocID="{A47D43C3-4DE6-49DC-B16A-862B41FDBFE1}" presName="sibTrans" presStyleLbl="sibTrans2D1" presStyleIdx="0" presStyleCnt="2"/>
      <dgm:spPr/>
      <dgm:t>
        <a:bodyPr/>
        <a:lstStyle/>
        <a:p>
          <a:endParaRPr lang="en-US"/>
        </a:p>
      </dgm:t>
    </dgm:pt>
    <dgm:pt modelId="{13CDDDA2-1137-4FF0-A95D-B9DE2A12FA25}" type="pres">
      <dgm:prSet presAssocID="{A47D43C3-4DE6-49DC-B16A-862B41FDBFE1}" presName="spacerR" presStyleCnt="0"/>
      <dgm:spPr/>
    </dgm:pt>
    <dgm:pt modelId="{521E6FD8-ABF8-401F-80E8-119F2DF58DC4}" type="pres">
      <dgm:prSet presAssocID="{C204973B-1E45-499A-B5E8-B6AF51B18355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16CE5E-765F-4222-A4B5-9D7E164A69B3}" type="pres">
      <dgm:prSet presAssocID="{F201583F-C78C-48C6-96E0-87051B40C042}" presName="spacerL" presStyleCnt="0"/>
      <dgm:spPr/>
    </dgm:pt>
    <dgm:pt modelId="{FD5A27AF-8591-4703-8C01-5EF0589A50F3}" type="pres">
      <dgm:prSet presAssocID="{F201583F-C78C-48C6-96E0-87051B40C042}" presName="sibTrans" presStyleLbl="sibTrans2D1" presStyleIdx="1" presStyleCnt="2"/>
      <dgm:spPr/>
      <dgm:t>
        <a:bodyPr/>
        <a:lstStyle/>
        <a:p>
          <a:endParaRPr lang="en-US"/>
        </a:p>
      </dgm:t>
    </dgm:pt>
    <dgm:pt modelId="{CFAFF79D-738E-4979-A392-267123F7E028}" type="pres">
      <dgm:prSet presAssocID="{F201583F-C78C-48C6-96E0-87051B40C042}" presName="spacerR" presStyleCnt="0"/>
      <dgm:spPr/>
    </dgm:pt>
    <dgm:pt modelId="{E64F876C-D5EE-4826-8916-B0B92B90CA1F}" type="pres">
      <dgm:prSet presAssocID="{626150F5-5BEA-40AC-9B34-413631BA2C31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B8D7AF2-3226-4620-8493-0ECE0A856AFF}" srcId="{E9749FE7-D142-46D6-A0CA-60AEB8366107}" destId="{56C6D5D1-2492-4BE6-80B1-0974C7615D70}" srcOrd="0" destOrd="0" parTransId="{E662C2F6-73B6-414D-9D4A-EAA586393D47}" sibTransId="{A47D43C3-4DE6-49DC-B16A-862B41FDBFE1}"/>
    <dgm:cxn modelId="{3B7A8586-4777-4E7D-AADC-8315374BCE6A}" type="presOf" srcId="{56C6D5D1-2492-4BE6-80B1-0974C7615D70}" destId="{227E5167-CB81-4FA2-B845-88C784C0FB32}" srcOrd="0" destOrd="0" presId="urn:microsoft.com/office/officeart/2005/8/layout/equation1"/>
    <dgm:cxn modelId="{6E6EFA8D-F3FE-4BF4-BF18-57FB68D57B15}" type="presOf" srcId="{626150F5-5BEA-40AC-9B34-413631BA2C31}" destId="{E64F876C-D5EE-4826-8916-B0B92B90CA1F}" srcOrd="0" destOrd="0" presId="urn:microsoft.com/office/officeart/2005/8/layout/equation1"/>
    <dgm:cxn modelId="{61124430-6E0B-43FD-8989-694E17FDC4DE}" srcId="{E9749FE7-D142-46D6-A0CA-60AEB8366107}" destId="{C204973B-1E45-499A-B5E8-B6AF51B18355}" srcOrd="1" destOrd="0" parTransId="{83C06022-AC22-4932-AEFE-D244E591FAD3}" sibTransId="{F201583F-C78C-48C6-96E0-87051B40C042}"/>
    <dgm:cxn modelId="{DAD901AD-B006-49FE-A30D-097CFBA19942}" type="presOf" srcId="{A47D43C3-4DE6-49DC-B16A-862B41FDBFE1}" destId="{704933BF-87C6-4505-A243-7573030095A1}" srcOrd="0" destOrd="0" presId="urn:microsoft.com/office/officeart/2005/8/layout/equation1"/>
    <dgm:cxn modelId="{3E61B549-8EB5-43E4-87B1-E93AE2B2FDD7}" srcId="{E9749FE7-D142-46D6-A0CA-60AEB8366107}" destId="{626150F5-5BEA-40AC-9B34-413631BA2C31}" srcOrd="2" destOrd="0" parTransId="{54BDFF88-8A41-4080-9167-523E60120ED9}" sibTransId="{8FDA9BAC-0229-4444-9DEF-B40C97A6AF9F}"/>
    <dgm:cxn modelId="{AD7E2E3C-4900-45F5-B880-1F8A31FBE691}" type="presOf" srcId="{E9749FE7-D142-46D6-A0CA-60AEB8366107}" destId="{9BCFC283-5740-4D6F-95D6-47E4D244E3EE}" srcOrd="0" destOrd="0" presId="urn:microsoft.com/office/officeart/2005/8/layout/equation1"/>
    <dgm:cxn modelId="{6EC61C88-8E22-4D0C-A0E1-2F413876F523}" type="presOf" srcId="{F201583F-C78C-48C6-96E0-87051B40C042}" destId="{FD5A27AF-8591-4703-8C01-5EF0589A50F3}" srcOrd="0" destOrd="0" presId="urn:microsoft.com/office/officeart/2005/8/layout/equation1"/>
    <dgm:cxn modelId="{168D52C9-C3F2-4EE2-8344-5ED3B17FF706}" type="presOf" srcId="{C204973B-1E45-499A-B5E8-B6AF51B18355}" destId="{521E6FD8-ABF8-401F-80E8-119F2DF58DC4}" srcOrd="0" destOrd="0" presId="urn:microsoft.com/office/officeart/2005/8/layout/equation1"/>
    <dgm:cxn modelId="{F5E5F2B4-64D2-4403-ACA2-DFDE147E9DF7}" type="presParOf" srcId="{9BCFC283-5740-4D6F-95D6-47E4D244E3EE}" destId="{227E5167-CB81-4FA2-B845-88C784C0FB32}" srcOrd="0" destOrd="0" presId="urn:microsoft.com/office/officeart/2005/8/layout/equation1"/>
    <dgm:cxn modelId="{7BF3BF20-0EF5-4CF9-9B02-373453CC5E84}" type="presParOf" srcId="{9BCFC283-5740-4D6F-95D6-47E4D244E3EE}" destId="{B2554792-E511-4799-9788-FE20870A8D01}" srcOrd="1" destOrd="0" presId="urn:microsoft.com/office/officeart/2005/8/layout/equation1"/>
    <dgm:cxn modelId="{E80A6061-6B7A-40D1-8001-EEE1A566071B}" type="presParOf" srcId="{9BCFC283-5740-4D6F-95D6-47E4D244E3EE}" destId="{704933BF-87C6-4505-A243-7573030095A1}" srcOrd="2" destOrd="0" presId="urn:microsoft.com/office/officeart/2005/8/layout/equation1"/>
    <dgm:cxn modelId="{A08AD725-E025-45D6-8B01-190142EB0D5E}" type="presParOf" srcId="{9BCFC283-5740-4D6F-95D6-47E4D244E3EE}" destId="{13CDDDA2-1137-4FF0-A95D-B9DE2A12FA25}" srcOrd="3" destOrd="0" presId="urn:microsoft.com/office/officeart/2005/8/layout/equation1"/>
    <dgm:cxn modelId="{55857691-3125-4F4A-8FD2-E692BC833921}" type="presParOf" srcId="{9BCFC283-5740-4D6F-95D6-47E4D244E3EE}" destId="{521E6FD8-ABF8-401F-80E8-119F2DF58DC4}" srcOrd="4" destOrd="0" presId="urn:microsoft.com/office/officeart/2005/8/layout/equation1"/>
    <dgm:cxn modelId="{0D5FF0A9-7635-4590-8058-1D39D152DE96}" type="presParOf" srcId="{9BCFC283-5740-4D6F-95D6-47E4D244E3EE}" destId="{8816CE5E-765F-4222-A4B5-9D7E164A69B3}" srcOrd="5" destOrd="0" presId="urn:microsoft.com/office/officeart/2005/8/layout/equation1"/>
    <dgm:cxn modelId="{89F9A189-B43A-404C-A24A-C4B78C9CBB5C}" type="presParOf" srcId="{9BCFC283-5740-4D6F-95D6-47E4D244E3EE}" destId="{FD5A27AF-8591-4703-8C01-5EF0589A50F3}" srcOrd="6" destOrd="0" presId="urn:microsoft.com/office/officeart/2005/8/layout/equation1"/>
    <dgm:cxn modelId="{66204DAA-DEA0-4273-B0A1-36DA1BB5003A}" type="presParOf" srcId="{9BCFC283-5740-4D6F-95D6-47E4D244E3EE}" destId="{CFAFF79D-738E-4979-A392-267123F7E028}" srcOrd="7" destOrd="0" presId="urn:microsoft.com/office/officeart/2005/8/layout/equation1"/>
    <dgm:cxn modelId="{B00E9559-7841-4860-BD05-DCB37A26E924}" type="presParOf" srcId="{9BCFC283-5740-4D6F-95D6-47E4D244E3EE}" destId="{E64F876C-D5EE-4826-8916-B0B92B90CA1F}" srcOrd="8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CA66DE-0ABE-4DAA-907C-BF603D6A72CD}">
      <dsp:nvSpPr>
        <dsp:cNvPr id="0" name=""/>
        <dsp:cNvSpPr/>
      </dsp:nvSpPr>
      <dsp:spPr>
        <a:xfrm>
          <a:off x="0" y="237631"/>
          <a:ext cx="4277359" cy="4277359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719D06-1E62-4FD6-8522-A689FDCCA784}">
      <dsp:nvSpPr>
        <dsp:cNvPr id="0" name=""/>
        <dsp:cNvSpPr/>
      </dsp:nvSpPr>
      <dsp:spPr>
        <a:xfrm>
          <a:off x="2138679" y="237631"/>
          <a:ext cx="4990253" cy="427735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4200" kern="1200" dirty="0" smtClean="0"/>
            <a:t>Dezinflace</a:t>
          </a:r>
          <a:endParaRPr lang="en-US" sz="4200" kern="1200" dirty="0"/>
        </a:p>
      </dsp:txBody>
      <dsp:txXfrm>
        <a:off x="2138679" y="237631"/>
        <a:ext cx="4990253" cy="908938"/>
      </dsp:txXfrm>
    </dsp:sp>
    <dsp:sp modelId="{C4A90F3E-6A30-4D7A-97DF-761584C5AA57}">
      <dsp:nvSpPr>
        <dsp:cNvPr id="0" name=""/>
        <dsp:cNvSpPr/>
      </dsp:nvSpPr>
      <dsp:spPr>
        <a:xfrm>
          <a:off x="561403" y="1146570"/>
          <a:ext cx="3154552" cy="3154552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6F9B3A-67B5-45DB-AE55-38D7689D45DB}">
      <dsp:nvSpPr>
        <dsp:cNvPr id="0" name=""/>
        <dsp:cNvSpPr/>
      </dsp:nvSpPr>
      <dsp:spPr>
        <a:xfrm>
          <a:off x="2138679" y="1146570"/>
          <a:ext cx="4990253" cy="3154552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4200" kern="1200" dirty="0" smtClean="0"/>
            <a:t>Plíživá deflace</a:t>
          </a:r>
          <a:endParaRPr lang="en-US" sz="4200" kern="1200" dirty="0"/>
        </a:p>
      </dsp:txBody>
      <dsp:txXfrm>
        <a:off x="2138679" y="1146570"/>
        <a:ext cx="4990253" cy="908938"/>
      </dsp:txXfrm>
    </dsp:sp>
    <dsp:sp modelId="{D9D18567-675A-4D04-BC09-865C3AC90427}">
      <dsp:nvSpPr>
        <dsp:cNvPr id="0" name=""/>
        <dsp:cNvSpPr/>
      </dsp:nvSpPr>
      <dsp:spPr>
        <a:xfrm>
          <a:off x="1122806" y="2055509"/>
          <a:ext cx="2031745" cy="2031745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A5A3EC-3C26-4B69-9A5B-10B1C6D35B3C}">
      <dsp:nvSpPr>
        <dsp:cNvPr id="0" name=""/>
        <dsp:cNvSpPr/>
      </dsp:nvSpPr>
      <dsp:spPr>
        <a:xfrm>
          <a:off x="2138679" y="2055509"/>
          <a:ext cx="4990253" cy="203174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4200" kern="1200" dirty="0" smtClean="0"/>
            <a:t>Dluhová deflace</a:t>
          </a:r>
          <a:endParaRPr lang="en-US" sz="4200" kern="1200" dirty="0"/>
        </a:p>
      </dsp:txBody>
      <dsp:txXfrm>
        <a:off x="2138679" y="2055509"/>
        <a:ext cx="4990253" cy="908938"/>
      </dsp:txXfrm>
    </dsp:sp>
    <dsp:sp modelId="{37EFEF4F-0BE2-4CC2-9E26-5E0F1A87B2C7}">
      <dsp:nvSpPr>
        <dsp:cNvPr id="0" name=""/>
        <dsp:cNvSpPr/>
      </dsp:nvSpPr>
      <dsp:spPr>
        <a:xfrm>
          <a:off x="1684210" y="2964447"/>
          <a:ext cx="908938" cy="908938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B0B737-6EB5-4E49-A78F-762E369A5ED6}">
      <dsp:nvSpPr>
        <dsp:cNvPr id="0" name=""/>
        <dsp:cNvSpPr/>
      </dsp:nvSpPr>
      <dsp:spPr>
        <a:xfrm>
          <a:off x="2138679" y="2964447"/>
          <a:ext cx="4990253" cy="908938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0020" tIns="160020" rIns="160020" bIns="160020" numCol="1" spcCol="1270" anchor="ctr" anchorCtr="0">
          <a:noAutofit/>
        </a:bodyPr>
        <a:lstStyle/>
        <a:p>
          <a:pPr lvl="0" algn="l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4200" kern="1200" dirty="0" smtClean="0"/>
            <a:t>Deflační spirála</a:t>
          </a:r>
          <a:endParaRPr lang="en-US" sz="4200" kern="1200" dirty="0"/>
        </a:p>
      </dsp:txBody>
      <dsp:txXfrm>
        <a:off x="2138679" y="2964447"/>
        <a:ext cx="4990253" cy="9089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719273-4878-4931-B60E-305399EEF65C}">
      <dsp:nvSpPr>
        <dsp:cNvPr id="0" name=""/>
        <dsp:cNvSpPr/>
      </dsp:nvSpPr>
      <dsp:spPr>
        <a:xfrm>
          <a:off x="278287" y="2953"/>
          <a:ext cx="5736120" cy="5214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USA v 19. století</a:t>
          </a:r>
          <a:endParaRPr lang="en-US" sz="2400" kern="1200" dirty="0"/>
        </a:p>
      </dsp:txBody>
      <dsp:txXfrm>
        <a:off x="278287" y="2953"/>
        <a:ext cx="5736120" cy="521465"/>
      </dsp:txXfrm>
    </dsp:sp>
    <dsp:sp modelId="{772F068E-8142-4774-850F-316C93C116D0}">
      <dsp:nvSpPr>
        <dsp:cNvPr id="0" name=""/>
        <dsp:cNvSpPr/>
      </dsp:nvSpPr>
      <dsp:spPr>
        <a:xfrm>
          <a:off x="278287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F894F0-9F9D-4D8E-9677-9756D56E3C08}">
      <dsp:nvSpPr>
        <dsp:cNvPr id="0" name=""/>
        <dsp:cNvSpPr/>
      </dsp:nvSpPr>
      <dsp:spPr>
        <a:xfrm>
          <a:off x="1084531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EEBA69-9838-44F3-B439-4A8BBEE135D9}">
      <dsp:nvSpPr>
        <dsp:cNvPr id="0" name=""/>
        <dsp:cNvSpPr/>
      </dsp:nvSpPr>
      <dsp:spPr>
        <a:xfrm>
          <a:off x="1891412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11CD69-2E7D-4AA4-ABDB-F9B14F3D0D33}">
      <dsp:nvSpPr>
        <dsp:cNvPr id="0" name=""/>
        <dsp:cNvSpPr/>
      </dsp:nvSpPr>
      <dsp:spPr>
        <a:xfrm>
          <a:off x="2697655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D72B47-71B8-43F1-9E92-1FAE8E19DC34}">
      <dsp:nvSpPr>
        <dsp:cNvPr id="0" name=""/>
        <dsp:cNvSpPr/>
      </dsp:nvSpPr>
      <dsp:spPr>
        <a:xfrm>
          <a:off x="3504536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83170A-D388-404A-8A95-FE4B3DAB9B45}">
      <dsp:nvSpPr>
        <dsp:cNvPr id="0" name=""/>
        <dsp:cNvSpPr/>
      </dsp:nvSpPr>
      <dsp:spPr>
        <a:xfrm>
          <a:off x="4310780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1E9326-7322-4C32-AA07-85BD2372E361}">
      <dsp:nvSpPr>
        <dsp:cNvPr id="0" name=""/>
        <dsp:cNvSpPr/>
      </dsp:nvSpPr>
      <dsp:spPr>
        <a:xfrm>
          <a:off x="5117661" y="52441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2823F9-8160-4AE2-9060-3C8A74C90B70}">
      <dsp:nvSpPr>
        <dsp:cNvPr id="0" name=""/>
        <dsp:cNvSpPr/>
      </dsp:nvSpPr>
      <dsp:spPr>
        <a:xfrm>
          <a:off x="278287" y="630643"/>
          <a:ext cx="5810690" cy="84979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Velká deprese ve </a:t>
          </a:r>
          <a:r>
            <a:rPr lang="cs-CZ" sz="2400" kern="1200" dirty="0" err="1" smtClean="0"/>
            <a:t>30.letech</a:t>
          </a:r>
          <a:r>
            <a:rPr lang="cs-CZ" sz="2400" kern="1200" dirty="0" smtClean="0"/>
            <a:t> 20. stol. </a:t>
          </a:r>
          <a:endParaRPr lang="en-US" sz="2400" kern="1200" dirty="0"/>
        </a:p>
      </dsp:txBody>
      <dsp:txXfrm>
        <a:off x="278287" y="630643"/>
        <a:ext cx="5810690" cy="849795"/>
      </dsp:txXfrm>
    </dsp:sp>
    <dsp:sp modelId="{240ED1B4-6500-4F73-9B81-DFB7BD079A4E}">
      <dsp:nvSpPr>
        <dsp:cNvPr id="0" name=""/>
        <dsp:cNvSpPr/>
      </dsp:nvSpPr>
      <dsp:spPr>
        <a:xfrm>
          <a:off x="278287" y="1657783"/>
          <a:ext cx="9515076" cy="5214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err="1" smtClean="0"/>
            <a:t>Hong</a:t>
          </a:r>
          <a:r>
            <a:rPr lang="cs-CZ" sz="2400" kern="1200" dirty="0" smtClean="0"/>
            <a:t> Kong – dopad asijské finanční krize </a:t>
          </a:r>
          <a:r>
            <a:rPr lang="cs-CZ" sz="2400" kern="1200" dirty="0" err="1" smtClean="0"/>
            <a:t>90.léta</a:t>
          </a:r>
          <a:r>
            <a:rPr lang="cs-CZ" sz="2400" kern="1200" dirty="0" smtClean="0"/>
            <a:t> </a:t>
          </a:r>
          <a:r>
            <a:rPr lang="cs-CZ" sz="2400" kern="1200" dirty="0" err="1" smtClean="0"/>
            <a:t>20.století</a:t>
          </a:r>
          <a:endParaRPr lang="en-US" sz="2400" kern="1200" dirty="0"/>
        </a:p>
      </dsp:txBody>
      <dsp:txXfrm>
        <a:off x="278287" y="1657783"/>
        <a:ext cx="9515076" cy="521465"/>
      </dsp:txXfrm>
    </dsp:sp>
    <dsp:sp modelId="{A47980B9-C136-4108-848E-7FC04A21BEB4}">
      <dsp:nvSpPr>
        <dsp:cNvPr id="0" name=""/>
        <dsp:cNvSpPr/>
      </dsp:nvSpPr>
      <dsp:spPr>
        <a:xfrm>
          <a:off x="278287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25FC56-618E-496D-B720-EE6AFE1E3E92}">
      <dsp:nvSpPr>
        <dsp:cNvPr id="0" name=""/>
        <dsp:cNvSpPr/>
      </dsp:nvSpPr>
      <dsp:spPr>
        <a:xfrm>
          <a:off x="1084531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F7E2C9D-425F-4BD8-8E9F-A9F7CB992732}">
      <dsp:nvSpPr>
        <dsp:cNvPr id="0" name=""/>
        <dsp:cNvSpPr/>
      </dsp:nvSpPr>
      <dsp:spPr>
        <a:xfrm>
          <a:off x="1891412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147054-B401-4824-A0A3-1406D92C63A0}">
      <dsp:nvSpPr>
        <dsp:cNvPr id="0" name=""/>
        <dsp:cNvSpPr/>
      </dsp:nvSpPr>
      <dsp:spPr>
        <a:xfrm>
          <a:off x="2697655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35E9641-7323-4BA3-BD82-423BF5A7D5CC}">
      <dsp:nvSpPr>
        <dsp:cNvPr id="0" name=""/>
        <dsp:cNvSpPr/>
      </dsp:nvSpPr>
      <dsp:spPr>
        <a:xfrm>
          <a:off x="3504536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524479-C8BC-4521-826C-5F610A33B54C}">
      <dsp:nvSpPr>
        <dsp:cNvPr id="0" name=""/>
        <dsp:cNvSpPr/>
      </dsp:nvSpPr>
      <dsp:spPr>
        <a:xfrm>
          <a:off x="4310780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EA8272-EE41-4CB7-A63F-6DF634BFFB60}">
      <dsp:nvSpPr>
        <dsp:cNvPr id="0" name=""/>
        <dsp:cNvSpPr/>
      </dsp:nvSpPr>
      <dsp:spPr>
        <a:xfrm>
          <a:off x="5117661" y="2179249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BFE55A9-7A01-4416-A3C3-2D75A24F1743}">
      <dsp:nvSpPr>
        <dsp:cNvPr id="0" name=""/>
        <dsp:cNvSpPr/>
      </dsp:nvSpPr>
      <dsp:spPr>
        <a:xfrm>
          <a:off x="278287" y="2285473"/>
          <a:ext cx="5810690" cy="84979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Japonsko – splasknutí akciové bubliny </a:t>
          </a:r>
          <a:endParaRPr lang="en-US" sz="2400" kern="1200" dirty="0"/>
        </a:p>
      </dsp:txBody>
      <dsp:txXfrm>
        <a:off x="278287" y="2285473"/>
        <a:ext cx="5810690" cy="849795"/>
      </dsp:txXfrm>
    </dsp:sp>
    <dsp:sp modelId="{79EF589D-31F0-488F-ACBD-46A15366A593}">
      <dsp:nvSpPr>
        <dsp:cNvPr id="0" name=""/>
        <dsp:cNvSpPr/>
      </dsp:nvSpPr>
      <dsp:spPr>
        <a:xfrm>
          <a:off x="278287" y="3312613"/>
          <a:ext cx="5736120" cy="5214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400" kern="1200" dirty="0"/>
        </a:p>
      </dsp:txBody>
      <dsp:txXfrm>
        <a:off x="278287" y="3312613"/>
        <a:ext cx="5736120" cy="521465"/>
      </dsp:txXfrm>
    </dsp:sp>
    <dsp:sp modelId="{108DD212-79D6-4EAC-B0E0-E2FC236169E2}">
      <dsp:nvSpPr>
        <dsp:cNvPr id="0" name=""/>
        <dsp:cNvSpPr/>
      </dsp:nvSpPr>
      <dsp:spPr>
        <a:xfrm>
          <a:off x="278287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6ABFC6-64DD-4A96-BBC6-7C5738988B01}">
      <dsp:nvSpPr>
        <dsp:cNvPr id="0" name=""/>
        <dsp:cNvSpPr/>
      </dsp:nvSpPr>
      <dsp:spPr>
        <a:xfrm>
          <a:off x="1084531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582CDB-A561-4706-944C-FDA1057D4F8E}">
      <dsp:nvSpPr>
        <dsp:cNvPr id="0" name=""/>
        <dsp:cNvSpPr/>
      </dsp:nvSpPr>
      <dsp:spPr>
        <a:xfrm>
          <a:off x="1891412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05F000-3E83-44E7-B232-A9486E5A8A33}">
      <dsp:nvSpPr>
        <dsp:cNvPr id="0" name=""/>
        <dsp:cNvSpPr/>
      </dsp:nvSpPr>
      <dsp:spPr>
        <a:xfrm>
          <a:off x="2697655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6F1CC5-AED4-47E4-AFE0-D67635A1683A}">
      <dsp:nvSpPr>
        <dsp:cNvPr id="0" name=""/>
        <dsp:cNvSpPr/>
      </dsp:nvSpPr>
      <dsp:spPr>
        <a:xfrm>
          <a:off x="3504536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BD7E2A4-C57D-4FE1-B517-5242B3E3A557}">
      <dsp:nvSpPr>
        <dsp:cNvPr id="0" name=""/>
        <dsp:cNvSpPr/>
      </dsp:nvSpPr>
      <dsp:spPr>
        <a:xfrm>
          <a:off x="4310780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11B595-05E4-4F20-853F-D6C02C41EEAB}">
      <dsp:nvSpPr>
        <dsp:cNvPr id="0" name=""/>
        <dsp:cNvSpPr/>
      </dsp:nvSpPr>
      <dsp:spPr>
        <a:xfrm>
          <a:off x="5117661" y="3834078"/>
          <a:ext cx="1342252" cy="1062244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56BAC4D-4367-477A-95FD-342E19FE8FE0}">
      <dsp:nvSpPr>
        <dsp:cNvPr id="0" name=""/>
        <dsp:cNvSpPr/>
      </dsp:nvSpPr>
      <dsp:spPr>
        <a:xfrm>
          <a:off x="278287" y="3940303"/>
          <a:ext cx="5810690" cy="84979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Irsko, Španělsko, Portugalsko, Kypr, Řecko – krize eurozóny 2009-</a:t>
          </a:r>
          <a:r>
            <a:rPr lang="cs-CZ" sz="2400" kern="1200" dirty="0" err="1" smtClean="0"/>
            <a:t>20XX</a:t>
          </a:r>
          <a:endParaRPr lang="en-US" sz="2400" kern="1200" dirty="0"/>
        </a:p>
      </dsp:txBody>
      <dsp:txXfrm>
        <a:off x="278287" y="3940303"/>
        <a:ext cx="5810690" cy="849795"/>
      </dsp:txXfrm>
    </dsp:sp>
    <dsp:sp modelId="{71BFEDB9-BBF3-441D-8E41-495EF5CDE82F}">
      <dsp:nvSpPr>
        <dsp:cNvPr id="0" name=""/>
        <dsp:cNvSpPr/>
      </dsp:nvSpPr>
      <dsp:spPr>
        <a:xfrm>
          <a:off x="344539" y="3244661"/>
          <a:ext cx="5736120" cy="52146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b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400" kern="1200" dirty="0" smtClean="0"/>
            <a:t>Lotyšsko – řízená deflace 2008-2010</a:t>
          </a:r>
          <a:endParaRPr lang="en-US" sz="2400" kern="1200" dirty="0"/>
        </a:p>
      </dsp:txBody>
      <dsp:txXfrm>
        <a:off x="344539" y="3244661"/>
        <a:ext cx="5736120" cy="521465"/>
      </dsp:txXfrm>
    </dsp:sp>
    <dsp:sp modelId="{DA178194-49E9-4891-84EF-F72D50380C36}">
      <dsp:nvSpPr>
        <dsp:cNvPr id="0" name=""/>
        <dsp:cNvSpPr/>
      </dsp:nvSpPr>
      <dsp:spPr>
        <a:xfrm>
          <a:off x="278287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54953E-D55D-4755-9385-457097E0897D}">
      <dsp:nvSpPr>
        <dsp:cNvPr id="0" name=""/>
        <dsp:cNvSpPr/>
      </dsp:nvSpPr>
      <dsp:spPr>
        <a:xfrm>
          <a:off x="1087717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DB3345-9F9A-45AA-A244-2C78B3B5B0BC}">
      <dsp:nvSpPr>
        <dsp:cNvPr id="0" name=""/>
        <dsp:cNvSpPr/>
      </dsp:nvSpPr>
      <dsp:spPr>
        <a:xfrm>
          <a:off x="1897148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5AF84F-33E3-432C-A59F-60F5D3CF2090}">
      <dsp:nvSpPr>
        <dsp:cNvPr id="0" name=""/>
        <dsp:cNvSpPr/>
      </dsp:nvSpPr>
      <dsp:spPr>
        <a:xfrm>
          <a:off x="2706578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E1CBE5-8329-4526-8CD8-48805E1606A8}">
      <dsp:nvSpPr>
        <dsp:cNvPr id="0" name=""/>
        <dsp:cNvSpPr/>
      </dsp:nvSpPr>
      <dsp:spPr>
        <a:xfrm>
          <a:off x="3516008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E6DEE8-E13B-4F24-A723-75900CEFED1F}">
      <dsp:nvSpPr>
        <dsp:cNvPr id="0" name=""/>
        <dsp:cNvSpPr/>
      </dsp:nvSpPr>
      <dsp:spPr>
        <a:xfrm>
          <a:off x="4325439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AA007D3-3EA1-4DFC-8B49-48CF1ED5175C}">
      <dsp:nvSpPr>
        <dsp:cNvPr id="0" name=""/>
        <dsp:cNvSpPr/>
      </dsp:nvSpPr>
      <dsp:spPr>
        <a:xfrm>
          <a:off x="5134869" y="5488908"/>
          <a:ext cx="764816" cy="127469"/>
        </a:xfrm>
        <a:prstGeom prst="parallelogram">
          <a:avLst>
            <a:gd name="adj" fmla="val 1408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05692B-CFCD-43FF-834B-6D0C2E0E6C30}">
      <dsp:nvSpPr>
        <dsp:cNvPr id="0" name=""/>
        <dsp:cNvSpPr/>
      </dsp:nvSpPr>
      <dsp:spPr>
        <a:xfrm>
          <a:off x="4648101" y="159433"/>
          <a:ext cx="1764080" cy="10512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Propad/pokles poptávky</a:t>
          </a:r>
          <a:endParaRPr lang="en-US" sz="1800" kern="1200" dirty="0"/>
        </a:p>
      </dsp:txBody>
      <dsp:txXfrm>
        <a:off x="4648101" y="159433"/>
        <a:ext cx="1764080" cy="1051233"/>
      </dsp:txXfrm>
    </dsp:sp>
    <dsp:sp modelId="{A9FB85D7-A4F3-43EB-85B4-0555DA524135}">
      <dsp:nvSpPr>
        <dsp:cNvPr id="0" name=""/>
        <dsp:cNvSpPr/>
      </dsp:nvSpPr>
      <dsp:spPr>
        <a:xfrm>
          <a:off x="2211897" y="179229"/>
          <a:ext cx="5236766" cy="5236766"/>
        </a:xfrm>
        <a:prstGeom prst="circularArrow">
          <a:avLst>
            <a:gd name="adj1" fmla="val 5201"/>
            <a:gd name="adj2" fmla="val 335941"/>
            <a:gd name="adj3" fmla="val 20790500"/>
            <a:gd name="adj4" fmla="val 18460930"/>
            <a:gd name="adj5" fmla="val 606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A8549967-4DD8-49AF-8097-20C2932DD493}">
      <dsp:nvSpPr>
        <dsp:cNvPr id="0" name=""/>
        <dsp:cNvSpPr/>
      </dsp:nvSpPr>
      <dsp:spPr>
        <a:xfrm>
          <a:off x="5810789" y="2730360"/>
          <a:ext cx="1994242" cy="12955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Pokles produkce, investic a růst nezaměstnanosti</a:t>
          </a:r>
          <a:endParaRPr lang="en-US" sz="1800" kern="1200" dirty="0"/>
        </a:p>
      </dsp:txBody>
      <dsp:txXfrm>
        <a:off x="5810789" y="2730360"/>
        <a:ext cx="1994242" cy="1295515"/>
      </dsp:txXfrm>
    </dsp:sp>
    <dsp:sp modelId="{9D0F4D6B-60DC-4023-A560-7A3C0B272DE4}">
      <dsp:nvSpPr>
        <dsp:cNvPr id="0" name=""/>
        <dsp:cNvSpPr/>
      </dsp:nvSpPr>
      <dsp:spPr>
        <a:xfrm>
          <a:off x="2163137" y="-103977"/>
          <a:ext cx="5236766" cy="5236766"/>
        </a:xfrm>
        <a:prstGeom prst="circularArrow">
          <a:avLst>
            <a:gd name="adj1" fmla="val 5201"/>
            <a:gd name="adj2" fmla="val 335941"/>
            <a:gd name="adj3" fmla="val 5184354"/>
            <a:gd name="adj4" fmla="val 2435016"/>
            <a:gd name="adj5" fmla="val 606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D4C16DE6-847D-42CA-987E-A6B3140706C2}">
      <dsp:nvSpPr>
        <dsp:cNvPr id="0" name=""/>
        <dsp:cNvSpPr/>
      </dsp:nvSpPr>
      <dsp:spPr>
        <a:xfrm>
          <a:off x="3303620" y="4245448"/>
          <a:ext cx="1396616" cy="139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Inflace a Inflační očekávání klesají,  nižší mzdy</a:t>
          </a:r>
          <a:endParaRPr lang="en-US" sz="1800" kern="1200" dirty="0"/>
        </a:p>
      </dsp:txBody>
      <dsp:txXfrm>
        <a:off x="3303620" y="4245448"/>
        <a:ext cx="1396616" cy="1396616"/>
      </dsp:txXfrm>
    </dsp:sp>
    <dsp:sp modelId="{E7E85D39-FCAE-4E1A-8F5B-C390EC471D46}">
      <dsp:nvSpPr>
        <dsp:cNvPr id="0" name=""/>
        <dsp:cNvSpPr/>
      </dsp:nvSpPr>
      <dsp:spPr>
        <a:xfrm>
          <a:off x="1383545" y="2026"/>
          <a:ext cx="5236766" cy="5236766"/>
        </a:xfrm>
        <a:prstGeom prst="circularArrow">
          <a:avLst>
            <a:gd name="adj1" fmla="val 5201"/>
            <a:gd name="adj2" fmla="val 335941"/>
            <a:gd name="adj3" fmla="val 8210519"/>
            <a:gd name="adj4" fmla="val 6449479"/>
            <a:gd name="adj5" fmla="val 606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8D832B84-7A35-4307-88A1-426437D4CE63}">
      <dsp:nvSpPr>
        <dsp:cNvPr id="0" name=""/>
        <dsp:cNvSpPr/>
      </dsp:nvSpPr>
      <dsp:spPr>
        <a:xfrm>
          <a:off x="1093985" y="2640054"/>
          <a:ext cx="1396616" cy="139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Reálná cena dluhu roste, ceny aktiv klesají</a:t>
          </a:r>
          <a:endParaRPr lang="en-US" sz="1800" kern="1200" dirty="0"/>
        </a:p>
      </dsp:txBody>
      <dsp:txXfrm>
        <a:off x="1093985" y="2640054"/>
        <a:ext cx="1396616" cy="1396616"/>
      </dsp:txXfrm>
    </dsp:sp>
    <dsp:sp modelId="{07D4A125-825B-41D6-BC5C-04BF7B236E2F}">
      <dsp:nvSpPr>
        <dsp:cNvPr id="0" name=""/>
        <dsp:cNvSpPr/>
      </dsp:nvSpPr>
      <dsp:spPr>
        <a:xfrm>
          <a:off x="1381351" y="-81175"/>
          <a:ext cx="5236766" cy="5236766"/>
        </a:xfrm>
        <a:prstGeom prst="circularArrow">
          <a:avLst>
            <a:gd name="adj1" fmla="val 5201"/>
            <a:gd name="adj2" fmla="val 335941"/>
            <a:gd name="adj3" fmla="val 12090014"/>
            <a:gd name="adj4" fmla="val 10647772"/>
            <a:gd name="adj5" fmla="val 606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F4D50E9E-A589-428B-9FA5-9CBF12412440}">
      <dsp:nvSpPr>
        <dsp:cNvPr id="0" name=""/>
        <dsp:cNvSpPr/>
      </dsp:nvSpPr>
      <dsp:spPr>
        <a:xfrm>
          <a:off x="1818717" y="82229"/>
          <a:ext cx="1396616" cy="139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Nesplácené úvěry rostou, bankroty</a:t>
          </a:r>
          <a:endParaRPr lang="en-US" sz="1800" kern="1200" dirty="0"/>
        </a:p>
      </dsp:txBody>
      <dsp:txXfrm>
        <a:off x="1818717" y="82229"/>
        <a:ext cx="1396616" cy="1396616"/>
      </dsp:txXfrm>
    </dsp:sp>
    <dsp:sp modelId="{8083C19F-5AD7-4591-BCBF-30E1F6801538}">
      <dsp:nvSpPr>
        <dsp:cNvPr id="0" name=""/>
        <dsp:cNvSpPr/>
      </dsp:nvSpPr>
      <dsp:spPr>
        <a:xfrm>
          <a:off x="1583325" y="-19278"/>
          <a:ext cx="5236766" cy="5181518"/>
        </a:xfrm>
        <a:prstGeom prst="circularArrow">
          <a:avLst>
            <a:gd name="adj1" fmla="val 5201"/>
            <a:gd name="adj2" fmla="val 335941"/>
            <a:gd name="adj3" fmla="val 16588732"/>
            <a:gd name="adj4" fmla="val 14757348"/>
            <a:gd name="adj5" fmla="val 6067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6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30EC93-319F-413C-974F-7CEBCF2D4730}">
      <dsp:nvSpPr>
        <dsp:cNvPr id="0" name=""/>
        <dsp:cNvSpPr/>
      </dsp:nvSpPr>
      <dsp:spPr>
        <a:xfrm>
          <a:off x="-6285394" y="-925737"/>
          <a:ext cx="7484150" cy="7484150"/>
        </a:xfrm>
        <a:prstGeom prst="blockArc">
          <a:avLst>
            <a:gd name="adj1" fmla="val 18900000"/>
            <a:gd name="adj2" fmla="val 2700000"/>
            <a:gd name="adj3" fmla="val 289"/>
          </a:avLst>
        </a:pr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3689983-E7A3-415C-8690-1E71080CCEE6}">
      <dsp:nvSpPr>
        <dsp:cNvPr id="0" name=""/>
        <dsp:cNvSpPr/>
      </dsp:nvSpPr>
      <dsp:spPr>
        <a:xfrm>
          <a:off x="765081" y="354828"/>
          <a:ext cx="6280396" cy="1112105"/>
        </a:xfrm>
        <a:prstGeom prst="rect">
          <a:avLst/>
        </a:prstGeom>
        <a:gradFill rotWithShape="0">
          <a:gsLst>
            <a:gs pos="54000">
              <a:schemeClr val="bg1">
                <a:lumMod val="65000"/>
              </a:schemeClr>
            </a:gs>
            <a:gs pos="99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2734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Chudokrevná ekonomika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(HDP pod potenciálem)</a:t>
          </a:r>
          <a:endParaRPr lang="en-US" sz="1700" kern="1200" dirty="0"/>
        </a:p>
      </dsp:txBody>
      <dsp:txXfrm>
        <a:off x="765081" y="354828"/>
        <a:ext cx="6280396" cy="1112105"/>
      </dsp:txXfrm>
    </dsp:sp>
    <dsp:sp modelId="{E5C1EB88-F18F-4C11-8CC1-E2F7148E02F9}">
      <dsp:nvSpPr>
        <dsp:cNvPr id="0" name=""/>
        <dsp:cNvSpPr/>
      </dsp:nvSpPr>
      <dsp:spPr>
        <a:xfrm>
          <a:off x="76735" y="417039"/>
          <a:ext cx="1390132" cy="13901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5A7E31B-4D8D-4C19-879A-F76F974B76B4}">
      <dsp:nvSpPr>
        <dsp:cNvPr id="0" name=""/>
        <dsp:cNvSpPr/>
      </dsp:nvSpPr>
      <dsp:spPr>
        <a:xfrm>
          <a:off x="1176051" y="1621722"/>
          <a:ext cx="5876145" cy="2317083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10784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10784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1078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2734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Poptávková inflace se vypařila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(CPI pod dolním tolerančním pásmem)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Ceny průmyslových výrobců směřující </a:t>
          </a:r>
          <a:r>
            <a:rPr lang="cs-CZ" sz="1700" kern="1200" dirty="0" err="1" smtClean="0"/>
            <a:t>knule</a:t>
          </a:r>
          <a:endParaRPr lang="cs-CZ" sz="1700" kern="1200" dirty="0" smtClean="0"/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Klesající ceny ve stavebnictví, tržních službách, zemědělství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Ceny bytů mimo Prahu po poklesu stabilizace 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Deflátor nad 1%</a:t>
          </a:r>
        </a:p>
      </dsp:txBody>
      <dsp:txXfrm>
        <a:off x="1176051" y="1621722"/>
        <a:ext cx="5876145" cy="2317083"/>
      </dsp:txXfrm>
    </dsp:sp>
    <dsp:sp modelId="{509301FE-174E-4268-92EA-208DBA568C14}">
      <dsp:nvSpPr>
        <dsp:cNvPr id="0" name=""/>
        <dsp:cNvSpPr/>
      </dsp:nvSpPr>
      <dsp:spPr>
        <a:xfrm>
          <a:off x="480985" y="2085198"/>
          <a:ext cx="1390132" cy="13901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10784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8E1D264-6DBB-4D68-8DCB-BCC6A9C446FA}">
      <dsp:nvSpPr>
        <dsp:cNvPr id="0" name=""/>
        <dsp:cNvSpPr/>
      </dsp:nvSpPr>
      <dsp:spPr>
        <a:xfrm>
          <a:off x="814947" y="4024722"/>
          <a:ext cx="6280396" cy="1112105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21568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21568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2156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2734" tIns="43180" rIns="43180" bIns="43180" numCol="1" spcCol="1270" anchor="ctr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700" kern="1200" dirty="0" smtClean="0"/>
            <a:t>Restriktivní a později pasivní fiskální politika</a:t>
          </a:r>
          <a:endParaRPr lang="en-US" sz="1700" kern="1200" dirty="0"/>
        </a:p>
      </dsp:txBody>
      <dsp:txXfrm>
        <a:off x="814947" y="4024722"/>
        <a:ext cx="6280396" cy="1112105"/>
      </dsp:txXfrm>
    </dsp:sp>
    <dsp:sp modelId="{4C366B07-5411-4D9E-BF7C-F2AC7ABE7845}">
      <dsp:nvSpPr>
        <dsp:cNvPr id="0" name=""/>
        <dsp:cNvSpPr/>
      </dsp:nvSpPr>
      <dsp:spPr>
        <a:xfrm>
          <a:off x="76735" y="3753357"/>
          <a:ext cx="1390132" cy="139013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21568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0800" h="190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7D1281-5ECF-4AF6-8502-869D00089D01}">
      <dsp:nvSpPr>
        <dsp:cNvPr id="0" name=""/>
        <dsp:cNvSpPr/>
      </dsp:nvSpPr>
      <dsp:spPr>
        <a:xfrm>
          <a:off x="3408494" y="2190352"/>
          <a:ext cx="2677098" cy="2677098"/>
        </a:xfrm>
        <a:prstGeom prst="gear9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800" kern="1200" dirty="0" smtClean="0"/>
            <a:t>Oživení spotřeby </a:t>
          </a:r>
          <a:endParaRPr lang="en-US" sz="1800" kern="1200" dirty="0"/>
        </a:p>
      </dsp:txBody>
      <dsp:txXfrm>
        <a:off x="3946710" y="2817449"/>
        <a:ext cx="1600666" cy="1376084"/>
      </dsp:txXfrm>
    </dsp:sp>
    <dsp:sp modelId="{9FDBEECB-E0AC-4339-A163-5C252A27303E}">
      <dsp:nvSpPr>
        <dsp:cNvPr id="0" name=""/>
        <dsp:cNvSpPr/>
      </dsp:nvSpPr>
      <dsp:spPr>
        <a:xfrm>
          <a:off x="1625138" y="1474954"/>
          <a:ext cx="2398524" cy="2112240"/>
        </a:xfrm>
        <a:prstGeom prst="gear6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/>
            <a:t>Důchodový efekt (bez růstu mezd záporný)</a:t>
          </a:r>
          <a:endParaRPr lang="en-US" sz="1500" kern="1200" dirty="0"/>
        </a:p>
      </dsp:txBody>
      <dsp:txXfrm>
        <a:off x="2198515" y="2009931"/>
        <a:ext cx="1251770" cy="1042286"/>
      </dsp:txXfrm>
    </dsp:sp>
    <dsp:sp modelId="{657E37E9-B4F7-4536-A3AD-8275FAC7CE09}">
      <dsp:nvSpPr>
        <dsp:cNvPr id="0" name=""/>
        <dsp:cNvSpPr/>
      </dsp:nvSpPr>
      <dsp:spPr>
        <a:xfrm rot="20700000">
          <a:off x="2941417" y="214366"/>
          <a:ext cx="1907643" cy="1907643"/>
        </a:xfrm>
        <a:prstGeom prst="gear6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500" kern="1200" dirty="0" smtClean="0"/>
            <a:t>Substituční efekt (slabý)</a:t>
          </a:r>
          <a:endParaRPr lang="en-US" sz="1500" kern="1200" dirty="0"/>
        </a:p>
      </dsp:txBody>
      <dsp:txXfrm rot="-20700000">
        <a:off x="3359819" y="632768"/>
        <a:ext cx="1070839" cy="1070839"/>
      </dsp:txXfrm>
    </dsp:sp>
    <dsp:sp modelId="{F944B9E5-A7FB-4A4B-B2BA-C6B0F24591FE}">
      <dsp:nvSpPr>
        <dsp:cNvPr id="0" name=""/>
        <dsp:cNvSpPr/>
      </dsp:nvSpPr>
      <dsp:spPr>
        <a:xfrm>
          <a:off x="3210102" y="1782128"/>
          <a:ext cx="3426685" cy="3426685"/>
        </a:xfrm>
        <a:prstGeom prst="circularArrow">
          <a:avLst>
            <a:gd name="adj1" fmla="val 4688"/>
            <a:gd name="adj2" fmla="val 299029"/>
            <a:gd name="adj3" fmla="val 2530191"/>
            <a:gd name="adj4" fmla="val 15831387"/>
            <a:gd name="adj5" fmla="val 5469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99EA945-348B-4AF3-8BF3-CFD539F3055F}">
      <dsp:nvSpPr>
        <dsp:cNvPr id="0" name=""/>
        <dsp:cNvSpPr/>
      </dsp:nvSpPr>
      <dsp:spPr>
        <a:xfrm>
          <a:off x="1506103" y="1123902"/>
          <a:ext cx="2489701" cy="2489701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CCBD97-45DC-41E4-AA20-58613DFBA4C5}">
      <dsp:nvSpPr>
        <dsp:cNvPr id="0" name=""/>
        <dsp:cNvSpPr/>
      </dsp:nvSpPr>
      <dsp:spPr>
        <a:xfrm>
          <a:off x="2500160" y="-206367"/>
          <a:ext cx="2684399" cy="268439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B9D108-BC4F-4E27-8F4A-B6D39D347983}">
      <dsp:nvSpPr>
        <dsp:cNvPr id="0" name=""/>
        <dsp:cNvSpPr/>
      </dsp:nvSpPr>
      <dsp:spPr>
        <a:xfrm>
          <a:off x="3582531" y="2298966"/>
          <a:ext cx="2800522" cy="2800522"/>
        </a:xfrm>
        <a:prstGeom prst="gear9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600" kern="1200" dirty="0" smtClean="0"/>
            <a:t>Oživení vývozu – ano ale při rostoucí zahraniční poptávce</a:t>
          </a:r>
          <a:endParaRPr lang="en-US" sz="1600" kern="1200" dirty="0"/>
        </a:p>
      </dsp:txBody>
      <dsp:txXfrm>
        <a:off x="4145561" y="2954975"/>
        <a:ext cx="1674462" cy="1439526"/>
      </dsp:txXfrm>
    </dsp:sp>
    <dsp:sp modelId="{4CE98631-9218-4F94-B490-1A76A95AC527}">
      <dsp:nvSpPr>
        <dsp:cNvPr id="0" name=""/>
        <dsp:cNvSpPr/>
      </dsp:nvSpPr>
      <dsp:spPr>
        <a:xfrm>
          <a:off x="1729843" y="1575706"/>
          <a:ext cx="2357754" cy="2209622"/>
        </a:xfrm>
        <a:prstGeom prst="gear6">
          <a:avLst/>
        </a:prstGeom>
        <a:solidFill>
          <a:schemeClr val="accent5">
            <a:hueOff val="-450031"/>
            <a:satOff val="24999"/>
            <a:lumOff val="100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600" kern="1200" dirty="0" smtClean="0"/>
            <a:t>Objemový efekt (pozitivní)</a:t>
          </a:r>
          <a:endParaRPr lang="en-US" sz="1600" kern="1200" dirty="0"/>
        </a:p>
      </dsp:txBody>
      <dsp:txXfrm>
        <a:off x="2307655" y="2135347"/>
        <a:ext cx="1202130" cy="1090340"/>
      </dsp:txXfrm>
    </dsp:sp>
    <dsp:sp modelId="{6B4F6972-11CE-4D38-A1E6-2E6EB64CB1CF}">
      <dsp:nvSpPr>
        <dsp:cNvPr id="0" name=""/>
        <dsp:cNvSpPr/>
      </dsp:nvSpPr>
      <dsp:spPr>
        <a:xfrm rot="20700000">
          <a:off x="3194463" y="219989"/>
          <a:ext cx="2225500" cy="2069614"/>
        </a:xfrm>
        <a:prstGeom prst="gear6">
          <a:avLst/>
        </a:prstGeom>
        <a:solidFill>
          <a:schemeClr val="accent5">
            <a:hueOff val="-900062"/>
            <a:satOff val="49997"/>
            <a:lumOff val="2000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600" kern="1200" dirty="0" smtClean="0"/>
            <a:t>Cenový efekt (nejprve negativní)</a:t>
          </a:r>
          <a:endParaRPr lang="en-US" sz="1600" kern="1200" dirty="0"/>
        </a:p>
      </dsp:txBody>
      <dsp:txXfrm rot="-20700000">
        <a:off x="3691827" y="664670"/>
        <a:ext cx="1230773" cy="1180252"/>
      </dsp:txXfrm>
    </dsp:sp>
    <dsp:sp modelId="{8087BAE0-FF9E-49F7-B9CE-99A60EED2E96}">
      <dsp:nvSpPr>
        <dsp:cNvPr id="0" name=""/>
        <dsp:cNvSpPr/>
      </dsp:nvSpPr>
      <dsp:spPr>
        <a:xfrm>
          <a:off x="3314381" y="1895794"/>
          <a:ext cx="3584668" cy="3584668"/>
        </a:xfrm>
        <a:prstGeom prst="circularArrow">
          <a:avLst>
            <a:gd name="adj1" fmla="val 4688"/>
            <a:gd name="adj2" fmla="val 299029"/>
            <a:gd name="adj3" fmla="val 2534110"/>
            <a:gd name="adj4" fmla="val 15823149"/>
            <a:gd name="adj5" fmla="val 546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D73789-F5D2-480D-A105-16EF43C52848}">
      <dsp:nvSpPr>
        <dsp:cNvPr id="0" name=""/>
        <dsp:cNvSpPr/>
      </dsp:nvSpPr>
      <dsp:spPr>
        <a:xfrm>
          <a:off x="1529645" y="1207639"/>
          <a:ext cx="2604485" cy="260448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5">
            <a:hueOff val="-450031"/>
            <a:satOff val="24999"/>
            <a:lumOff val="1000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23BB21E-80F9-437F-A7E4-F51AE45F1EE2}">
      <dsp:nvSpPr>
        <dsp:cNvPr id="0" name=""/>
        <dsp:cNvSpPr/>
      </dsp:nvSpPr>
      <dsp:spPr>
        <a:xfrm>
          <a:off x="2569532" y="-183961"/>
          <a:ext cx="2808160" cy="2808160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>
            <a:hueOff val="-900062"/>
            <a:satOff val="49997"/>
            <a:lumOff val="2000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515</cdr:x>
      <cdr:y>0.50192</cdr:y>
    </cdr:from>
    <cdr:to>
      <cdr:x>0.51505</cdr:x>
      <cdr:y>0.569</cdr:y>
    </cdr:to>
    <cdr:sp macro="" textlink="">
      <cdr:nvSpPr>
        <cdr:cNvPr id="7955457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840605" y="1186330"/>
          <a:ext cx="77000" cy="1629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Overflow="clip" wrap="square" lIns="27432" tIns="22860" rIns="27432" bIns="22860" anchor="ctr" upright="1"/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cs-CZ" sz="800" b="0" i="0" u="none" strike="noStrike" baseline="0">
              <a:solidFill>
                <a:srgbClr val="000000"/>
              </a:solidFill>
              <a:latin typeface="Arial"/>
              <a:cs typeface="Arial"/>
            </a:rPr>
            <a:t> 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479</cdr:x>
      <cdr:y>0.36718</cdr:y>
    </cdr:from>
    <cdr:to>
      <cdr:x>0.36367</cdr:x>
      <cdr:y>0.46322</cdr:y>
    </cdr:to>
    <cdr:sp macro="" textlink="" fLocksText="0">
      <cdr:nvSpPr>
        <cdr:cNvPr id="2715649" name="Rectangle 6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91724" y="881336"/>
          <a:ext cx="834971" cy="2305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lIns="27432" tIns="22860" rIns="27432" bIns="0" anchor="t"/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cs-CZ" sz="1800" b="0" i="0" u="none" strike="noStrike" baseline="0" dirty="0">
              <a:solidFill>
                <a:srgbClr val="FF0000"/>
              </a:solidFill>
              <a:latin typeface="Arial"/>
              <a:cs typeface="Arial"/>
            </a:rPr>
            <a:t>Inflační cíl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176</cdr:x>
      <cdr:y>0.05556</cdr:y>
    </cdr:from>
    <cdr:to>
      <cdr:x>0.69118</cdr:x>
      <cdr:y>0.16667</cdr:y>
    </cdr:to>
    <cdr:sp macro="" textlink="">
      <cdr:nvSpPr>
        <cdr:cNvPr id="2" name="TextBox 1"/>
        <cdr:cNvSpPr txBox="1"/>
      </cdr:nvSpPr>
      <cdr:spPr bwMode="auto">
        <a:xfrm xmlns:a="http://schemas.openxmlformats.org/drawingml/2006/main">
          <a:off x="792088" y="216024"/>
          <a:ext cx="2592288" cy="43204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Overflow="clip" vert="horz" wrap="square" lIns="104306" tIns="52153" rIns="104306" bIns="52153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cs-CZ" sz="2000" b="1" dirty="0" smtClean="0"/>
            <a:t>Národní úspory</a:t>
          </a:r>
          <a:endParaRPr lang="en-US" sz="2000" b="1" dirty="0" smtClean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4844</cdr:x>
      <cdr:y>0.05556</cdr:y>
    </cdr:from>
    <cdr:to>
      <cdr:x>0.75</cdr:x>
      <cdr:y>0.14815</cdr:y>
    </cdr:to>
    <cdr:sp macro="" textlink="">
      <cdr:nvSpPr>
        <cdr:cNvPr id="2" name="TextBox 1"/>
        <cdr:cNvSpPr txBox="1"/>
      </cdr:nvSpPr>
      <cdr:spPr bwMode="auto">
        <a:xfrm xmlns:a="http://schemas.openxmlformats.org/drawingml/2006/main">
          <a:off x="684076" y="216024"/>
          <a:ext cx="2772308" cy="36004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vertOverflow="clip" vert="horz" wrap="square" lIns="104306" tIns="52153" rIns="104306" bIns="52153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cs-CZ" sz="2000" b="1" dirty="0" smtClean="0"/>
            <a:t>Národní  investice </a:t>
          </a:r>
          <a:endParaRPr lang="en-US" sz="2000" b="1" dirty="0" smtClean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11/1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4.11.20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42988" y="698500"/>
            <a:ext cx="4937125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42988" y="698500"/>
            <a:ext cx="4937125" cy="34909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0842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5533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3412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5117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341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4334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1233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21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4974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3550E3-F2E8-4816-8537-1F8BD21FDE13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553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220515" y="213360"/>
            <a:ext cx="10220168" cy="6950853"/>
          </a:xfrm>
          <a:solidFill>
            <a:schemeClr val="bg2"/>
          </a:solidFill>
          <a:ln>
            <a:noFill/>
          </a:ln>
        </p:spPr>
        <p:txBody>
          <a:bodyPr>
            <a:noAutofit/>
          </a:bodyPr>
          <a:lstStyle>
            <a:lvl1pPr algn="ctr">
              <a:defRPr sz="400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235393" y="3874927"/>
            <a:ext cx="8205290" cy="2492637"/>
          </a:xfrm>
          <a:solidFill>
            <a:srgbClr val="EAEE3D">
              <a:alpha val="85000"/>
            </a:srgbClr>
          </a:solidFill>
        </p:spPr>
        <p:txBody>
          <a:bodyPr lIns="246391" bIns="1437282" anchor="b" anchorCtr="0">
            <a:noAutofit/>
          </a:bodyPr>
          <a:lstStyle>
            <a:lvl1pPr>
              <a:spcBef>
                <a:spcPts val="0"/>
              </a:spcBef>
              <a:defRPr sz="3000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smtClean="0">
                <a:solidFill>
                  <a:srgbClr val="000000"/>
                </a:solidFill>
              </a:rPr>
              <a:pPr/>
              <a:t>14/11/201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20515" y="7176199"/>
            <a:ext cx="4287979" cy="385064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chapt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483988" y="5092384"/>
            <a:ext cx="7706303" cy="452543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</p:spTree>
    <p:extLst>
      <p:ext uri="{BB962C8B-B14F-4D97-AF65-F5344CB8AC3E}">
        <p14:creationId xmlns:p14="http://schemas.microsoft.com/office/powerpoint/2010/main" val="165353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7632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4965" y="238039"/>
            <a:ext cx="8188761" cy="873218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4/11/201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89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898462-610A-4302-B904-CB17D3765276}" type="datetime1">
              <a:rPr lang="cs-CZ"/>
              <a:pPr>
                <a:defRPr/>
              </a:pPr>
              <a:t>14.11.2014</a:t>
            </a:fld>
            <a:endParaRPr lang="en-US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/ s</a:t>
            </a:r>
            <a:r>
              <a:rPr lang="cs-CZ"/>
              <a:t>lide</a:t>
            </a:r>
            <a:endParaRPr lang="en-US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898261-C03D-4E48-B7D2-6850D7F5614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87812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kupina 3"/>
          <p:cNvGrpSpPr>
            <a:grpSpLocks/>
          </p:cNvGrpSpPr>
          <p:nvPr userDrawn="1"/>
        </p:nvGrpSpPr>
        <p:grpSpPr bwMode="auto">
          <a:xfrm>
            <a:off x="12700" y="0"/>
            <a:ext cx="10680700" cy="1360488"/>
            <a:chOff x="12092" y="0"/>
            <a:chExt cx="10681308" cy="1360488"/>
          </a:xfrm>
        </p:grpSpPr>
        <p:sp>
          <p:nvSpPr>
            <p:cNvPr id="5" name="Obdélník 4"/>
            <p:cNvSpPr/>
            <p:nvPr userDrawn="1"/>
          </p:nvSpPr>
          <p:spPr bwMode="auto">
            <a:xfrm>
              <a:off x="12092" y="0"/>
              <a:ext cx="10663845" cy="1360488"/>
            </a:xfrm>
            <a:prstGeom prst="rect">
              <a:avLst/>
            </a:prstGeom>
            <a:solidFill>
              <a:srgbClr val="FEF0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cs-CZ"/>
            </a:p>
          </p:txBody>
        </p:sp>
        <p:pic>
          <p:nvPicPr>
            <p:cNvPr id="6" name="Obrázek 2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4263" y="123181"/>
              <a:ext cx="2249137" cy="1114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Rectangle 1"/>
          <p:cNvSpPr/>
          <p:nvPr userDrawn="1"/>
        </p:nvSpPr>
        <p:spPr>
          <a:xfrm>
            <a:off x="0" y="7235825"/>
            <a:ext cx="10674350" cy="330200"/>
          </a:xfrm>
          <a:prstGeom prst="rect">
            <a:avLst/>
          </a:prstGeom>
          <a:solidFill>
            <a:srgbClr val="FEF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cs-CZ" sz="1700" dirty="0">
                <a:solidFill>
                  <a:schemeClr val="tx1"/>
                </a:solidFill>
              </a:rPr>
              <a:t>Každý si zaslouží individuální přístup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28637" y="1620391"/>
            <a:ext cx="9619200" cy="49577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Rectangle 6"/>
          <p:cNvSpPr>
            <a:spLocks noGrp="1" noChangeArrowheads="1"/>
          </p:cNvSpPr>
          <p:nvPr userDrawn="1">
            <p:ph type="sldNum" sz="quarter" idx="10"/>
          </p:nvPr>
        </p:nvSpPr>
        <p:spPr bwMode="auto">
          <a:xfrm>
            <a:off x="17463" y="7237413"/>
            <a:ext cx="712787" cy="25082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104306" tIns="52153" rIns="104306" bIns="52153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fld id="{1754BDF6-AD53-4BEF-9A2E-8D49A736BBC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29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764233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5"/>
          <p:cNvSpPr>
            <a:spLocks/>
          </p:cNvSpPr>
          <p:nvPr/>
        </p:nvSpPr>
        <p:spPr>
          <a:xfrm>
            <a:off x="252483" y="238040"/>
            <a:ext cx="10188200" cy="87321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en-US" noProof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967" y="238039"/>
            <a:ext cx="7186470" cy="87321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4/11/2014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Dana Zdenkova\Desktop\RB_logo_pure as Smart Object-1.png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185" y="354198"/>
            <a:ext cx="1459826" cy="640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5" r:id="rId2"/>
    <p:sldLayoutId id="2147483656" r:id="rId3"/>
    <p:sldLayoutId id="214748365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4.xml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w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10" Type="http://schemas.openxmlformats.org/officeDocument/2006/relationships/image" Target="../media/image20.wmf"/><Relationship Id="rId4" Type="http://schemas.openxmlformats.org/officeDocument/2006/relationships/diagramLayout" Target="../diagrams/layout7.xml"/><Relationship Id="rId9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.xml"/><Relationship Id="rId4" Type="http://schemas.openxmlformats.org/officeDocument/2006/relationships/image" Target="../media/image23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wmf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9.w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mailto:helena.horska@rb.cz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investice.rb.cz/fileadmin/files/disclaimer_RBroker.pdf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jpeg"/><Relationship Id="rId7" Type="http://schemas.openxmlformats.org/officeDocument/2006/relationships/diagramColors" Target="../diagrams/colors1.xml"/><Relationship Id="rId2" Type="http://schemas.openxmlformats.org/officeDocument/2006/relationships/hyperlink" Target="http://www.google.cz/url?url=http://www.barvykrumlov.cz/news/e-shop-byl-spusten/&amp;rct=j&amp;frm=1&amp;q=&amp;esrc=s&amp;sa=U&amp;ei=wj1jVO-BAsvOaL2wgagE&amp;ved=0CCoQ9QEwCg&amp;usg=AFQjCNE1n-M4stXbbIY8fdvBkYh8H63hH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2.xml"/><Relationship Id="rId2" Type="http://schemas.openxmlformats.org/officeDocument/2006/relationships/hyperlink" Target="http://en.wikipedia.org/wiki/File:Lange-MigrantMother02.jpg" TargetMode="Externa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10" Type="http://schemas.openxmlformats.org/officeDocument/2006/relationships/image" Target="../media/image9.jpeg"/><Relationship Id="rId4" Type="http://schemas.openxmlformats.org/officeDocument/2006/relationships/diagramData" Target="../diagrams/data2.xml"/><Relationship Id="rId9" Type="http://schemas.openxmlformats.org/officeDocument/2006/relationships/hyperlink" Target="http://www.google.cz/url?url=http://historymanilya.wordpress.com/2013/03/25/kings-approach-to-the-great-depression/&amp;rct=j&amp;frm=1&amp;q=&amp;esrc=s&amp;sa=U&amp;ei=AD9jVOCMHozqaKy6gDg&amp;ved=0CBYQ9QEwAA&amp;usg=AFQjCNGDALHfDnmH4xw_6aCUmDC4ihh3Fw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cz/url?url=http://www.canstockphoto.cz/po%C4%8Das%C3%AD-ikona-clipart-blesk-thun-15432446.html&amp;rct=j&amp;frm=1&amp;q=&amp;esrc=s&amp;sa=U&amp;ei=CkljVNmfHoexabXfgdAJ&amp;ved=0CCAQ9QEwBQ&amp;usg=AFQjCNEU5GbW14oX7euDrOCKszgW71jBxw" TargetMode="External"/><Relationship Id="rId3" Type="http://schemas.openxmlformats.org/officeDocument/2006/relationships/diagramLayout" Target="../diagrams/layout3.xml"/><Relationship Id="rId7" Type="http://schemas.openxmlformats.org/officeDocument/2006/relationships/image" Target="../media/image10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chart" Target="../charts/chart1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image" Target="../media/image1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" b="18"/>
          <a:stretch>
            <a:fillRect/>
          </a:stretch>
        </p:blipFill>
        <p:spPr/>
      </p:pic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/>
        <p:txBody>
          <a:bodyPr/>
          <a:lstStyle/>
          <a:p>
            <a:r>
              <a:rPr lang="cs-CZ" dirty="0" smtClean="0"/>
              <a:t>Deflace – vítaný či nechtěný host?</a:t>
            </a:r>
            <a:endParaRPr lang="cs-CZ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/>
        <p:txBody>
          <a:bodyPr/>
          <a:lstStyle/>
          <a:p>
            <a:r>
              <a:rPr lang="cs-CZ" dirty="0" smtClean="0"/>
              <a:t>Helena Horská, hlavní ekonomka </a:t>
            </a:r>
            <a:r>
              <a:rPr lang="cs-CZ" dirty="0" err="1" smtClean="0"/>
              <a:t>Raiffeisenbank</a:t>
            </a:r>
            <a:r>
              <a:rPr lang="cs-CZ" dirty="0" smtClean="0"/>
              <a:t> a.s.</a:t>
            </a:r>
            <a:endParaRPr lang="cs-CZ" dirty="0"/>
          </a:p>
        </p:txBody>
      </p:sp>
      <p:pic>
        <p:nvPicPr>
          <p:cNvPr id="8194" name="Picture 2" descr="C:\Users\Dana Zdenkova\Desktop\RB_logo_pure as Smart Object-1.png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115" y="5605064"/>
            <a:ext cx="1358290" cy="596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7381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6580" y="1434404"/>
            <a:ext cx="2520280" cy="1785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loud 19"/>
          <p:cNvSpPr/>
          <p:nvPr/>
        </p:nvSpPr>
        <p:spPr>
          <a:xfrm>
            <a:off x="7353871" y="2385086"/>
            <a:ext cx="1089174" cy="835103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loud 16"/>
          <p:cNvSpPr/>
          <p:nvPr/>
        </p:nvSpPr>
        <p:spPr>
          <a:xfrm>
            <a:off x="2665476" y="1107107"/>
            <a:ext cx="1737246" cy="985690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Obchází Evropu strašák deflace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 bwMode="auto">
          <a:xfrm>
            <a:off x="112011" y="7143397"/>
            <a:ext cx="4392488" cy="305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300" dirty="0" smtClean="0"/>
              <a:t>Zdroj </a:t>
            </a:r>
            <a:r>
              <a:rPr lang="cs-CZ" sz="1300" dirty="0" err="1" smtClean="0"/>
              <a:t>Eurostat</a:t>
            </a:r>
            <a:r>
              <a:rPr lang="cs-CZ" sz="1300" dirty="0" smtClean="0"/>
              <a:t>, září 2014.</a:t>
            </a:r>
            <a:endParaRPr lang="en-US" sz="1300" dirty="0" smtClean="0"/>
          </a:p>
        </p:txBody>
      </p:sp>
      <p:sp>
        <p:nvSpPr>
          <p:cNvPr id="8" name="Oval 7"/>
          <p:cNvSpPr/>
          <p:nvPr/>
        </p:nvSpPr>
        <p:spPr>
          <a:xfrm>
            <a:off x="9595172" y="1908423"/>
            <a:ext cx="360040" cy="216024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 bwMode="auto">
          <a:xfrm>
            <a:off x="7578948" y="2472976"/>
            <a:ext cx="864096" cy="597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Pokles marží</a:t>
            </a:r>
            <a:endParaRPr lang="en-US" sz="1600" dirty="0" smtClean="0"/>
          </a:p>
        </p:txBody>
      </p:sp>
      <p:sp>
        <p:nvSpPr>
          <p:cNvPr id="12" name="TextBox 11"/>
          <p:cNvSpPr txBox="1"/>
          <p:nvPr/>
        </p:nvSpPr>
        <p:spPr bwMode="auto">
          <a:xfrm>
            <a:off x="2876748" y="1164250"/>
            <a:ext cx="1389832" cy="84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Růst reálné hodnoty dluhu</a:t>
            </a:r>
            <a:endParaRPr lang="en-US" sz="1600" dirty="0" smtClean="0"/>
          </a:p>
        </p:txBody>
      </p:sp>
      <p:sp>
        <p:nvSpPr>
          <p:cNvPr id="15" name="Cloud 14"/>
          <p:cNvSpPr/>
          <p:nvPr/>
        </p:nvSpPr>
        <p:spPr>
          <a:xfrm>
            <a:off x="-9054" y="1282563"/>
            <a:ext cx="1962324" cy="733872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 bwMode="auto">
          <a:xfrm>
            <a:off x="112011" y="1104743"/>
            <a:ext cx="1818308" cy="62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endParaRPr lang="cs-CZ" sz="1800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cs-CZ" sz="1550" dirty="0" smtClean="0"/>
              <a:t>Nezaměstnanost</a:t>
            </a:r>
            <a:endParaRPr lang="en-US" sz="1550" dirty="0" smtClean="0"/>
          </a:p>
        </p:txBody>
      </p:sp>
      <p:sp>
        <p:nvSpPr>
          <p:cNvPr id="18" name="Cloud 17"/>
          <p:cNvSpPr/>
          <p:nvPr/>
        </p:nvSpPr>
        <p:spPr>
          <a:xfrm>
            <a:off x="2688894" y="2327295"/>
            <a:ext cx="1361662" cy="738043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 bwMode="auto">
          <a:xfrm>
            <a:off x="3042444" y="2385087"/>
            <a:ext cx="1224136" cy="597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Propad příjmů</a:t>
            </a:r>
            <a:endParaRPr lang="en-US" sz="1600" dirty="0" smtClean="0"/>
          </a:p>
        </p:txBody>
      </p:sp>
      <p:sp>
        <p:nvSpPr>
          <p:cNvPr id="21" name="Cloud 20"/>
          <p:cNvSpPr/>
          <p:nvPr/>
        </p:nvSpPr>
        <p:spPr>
          <a:xfrm>
            <a:off x="7578948" y="1399397"/>
            <a:ext cx="1296144" cy="985690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 bwMode="auto">
          <a:xfrm>
            <a:off x="7700049" y="1531803"/>
            <a:ext cx="1175041" cy="597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Propad produkce</a:t>
            </a:r>
            <a:endParaRPr lang="en-US" sz="1600" dirty="0" smtClean="0"/>
          </a:p>
        </p:txBody>
      </p:sp>
      <p:sp>
        <p:nvSpPr>
          <p:cNvPr id="23" name="Cloud 22"/>
          <p:cNvSpPr/>
          <p:nvPr/>
        </p:nvSpPr>
        <p:spPr>
          <a:xfrm>
            <a:off x="8875092" y="1684144"/>
            <a:ext cx="1584176" cy="817306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extBox 23"/>
          <p:cNvSpPr txBox="1"/>
          <p:nvPr/>
        </p:nvSpPr>
        <p:spPr bwMode="auto">
          <a:xfrm>
            <a:off x="9091116" y="1872905"/>
            <a:ext cx="1440160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Propouštění</a:t>
            </a:r>
            <a:endParaRPr lang="en-US" sz="1600" dirty="0" smtClean="0"/>
          </a:p>
        </p:txBody>
      </p:sp>
      <p:sp>
        <p:nvSpPr>
          <p:cNvPr id="25" name="Cloud 24"/>
          <p:cNvSpPr/>
          <p:nvPr/>
        </p:nvSpPr>
        <p:spPr>
          <a:xfrm>
            <a:off x="8875091" y="2472976"/>
            <a:ext cx="1435633" cy="817306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/>
          <p:cNvSpPr txBox="1"/>
          <p:nvPr/>
        </p:nvSpPr>
        <p:spPr bwMode="auto">
          <a:xfrm>
            <a:off x="9091116" y="2578638"/>
            <a:ext cx="1296144" cy="597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Rezignace investovat</a:t>
            </a:r>
            <a:endParaRPr lang="en-US" sz="1600" dirty="0" smtClean="0"/>
          </a:p>
        </p:txBody>
      </p:sp>
      <p:sp>
        <p:nvSpPr>
          <p:cNvPr id="27" name="Cloud 26"/>
          <p:cNvSpPr/>
          <p:nvPr/>
        </p:nvSpPr>
        <p:spPr>
          <a:xfrm>
            <a:off x="6268701" y="1144842"/>
            <a:ext cx="1361662" cy="738043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 bwMode="auto">
          <a:xfrm>
            <a:off x="6374185" y="1294455"/>
            <a:ext cx="1150693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Bankroty</a:t>
            </a:r>
            <a:endParaRPr lang="en-US" sz="1600" dirty="0" smtClean="0"/>
          </a:p>
        </p:txBody>
      </p:sp>
      <p:sp>
        <p:nvSpPr>
          <p:cNvPr id="29" name="Cloud 28"/>
          <p:cNvSpPr/>
          <p:nvPr/>
        </p:nvSpPr>
        <p:spPr>
          <a:xfrm>
            <a:off x="1047528" y="1860279"/>
            <a:ext cx="1737246" cy="658376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 bwMode="auto">
          <a:xfrm>
            <a:off x="1148555" y="1908423"/>
            <a:ext cx="1728193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Důvěra na nule</a:t>
            </a:r>
            <a:endParaRPr lang="en-US" sz="1600" dirty="0" smtClean="0"/>
          </a:p>
        </p:txBody>
      </p:sp>
      <p:sp>
        <p:nvSpPr>
          <p:cNvPr id="31" name="Cloud 30"/>
          <p:cNvSpPr/>
          <p:nvPr/>
        </p:nvSpPr>
        <p:spPr>
          <a:xfrm>
            <a:off x="216024" y="2360957"/>
            <a:ext cx="1737246" cy="658376"/>
          </a:xfrm>
          <a:prstGeom prst="cloud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 bwMode="auto">
          <a:xfrm>
            <a:off x="459952" y="2385087"/>
            <a:ext cx="1377206" cy="53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400" dirty="0" smtClean="0"/>
              <a:t>Nesplácené úvěry</a:t>
            </a:r>
            <a:endParaRPr lang="en-US" sz="14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327" y="3220189"/>
            <a:ext cx="5203568" cy="3726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011" y="3390255"/>
            <a:ext cx="4980212" cy="3566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87948" y="5705467"/>
            <a:ext cx="4110205" cy="661670"/>
          </a:xfrm>
          <a:prstGeom prst="rect">
            <a:avLst/>
          </a:prstGeom>
          <a:noFill/>
          <a:ln w="9525">
            <a:noFill/>
          </a:ln>
        </p:spPr>
        <p:txBody>
          <a:bodyPr vert="vert270" wrap="square" lIns="108000" tIns="144000" rIns="10800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cs-CZ" sz="1600" b="1" dirty="0" smtClean="0">
                <a:solidFill>
                  <a:srgbClr val="0070C0"/>
                </a:solidFill>
                <a:latin typeface="Century Gothic" pitchFamily="34" charset="0"/>
              </a:rPr>
              <a:t>2004</a:t>
            </a:r>
            <a:endParaRPr lang="cs-CZ" sz="1550" b="1" dirty="0" smtClean="0">
              <a:solidFill>
                <a:srgbClr val="0070C0"/>
              </a:solidFill>
              <a:latin typeface="Century Gothic" pitchFamily="34" charset="0"/>
            </a:endParaRP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06</a:t>
            </a: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08</a:t>
            </a: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10</a:t>
            </a: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12</a:t>
            </a:r>
            <a:endParaRPr lang="en-US" sz="1550" b="1" dirty="0" err="1" smtClean="0">
              <a:solidFill>
                <a:srgbClr val="0070C0"/>
              </a:solidFill>
              <a:latin typeface="Century Gothic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17149" y="5678431"/>
            <a:ext cx="4110205" cy="661670"/>
          </a:xfrm>
          <a:prstGeom prst="rect">
            <a:avLst/>
          </a:prstGeom>
          <a:noFill/>
          <a:ln w="9525">
            <a:noFill/>
          </a:ln>
        </p:spPr>
        <p:txBody>
          <a:bodyPr vert="vert270" wrap="square" lIns="108000" tIns="144000" rIns="108000" bIns="0" rtlCol="0">
            <a:noAutofit/>
          </a:bodyPr>
          <a:lstStyle/>
          <a:p>
            <a:pPr>
              <a:spcBef>
                <a:spcPts val="600"/>
              </a:spcBef>
            </a:pPr>
            <a:r>
              <a:rPr lang="cs-CZ" sz="1600" b="1" dirty="0" smtClean="0">
                <a:solidFill>
                  <a:srgbClr val="0070C0"/>
                </a:solidFill>
                <a:latin typeface="Century Gothic" pitchFamily="34" charset="0"/>
              </a:rPr>
              <a:t>2004</a:t>
            </a:r>
            <a:endParaRPr lang="cs-CZ" sz="1550" b="1" dirty="0" smtClean="0">
              <a:solidFill>
                <a:srgbClr val="0070C0"/>
              </a:solidFill>
              <a:latin typeface="Century Gothic" pitchFamily="34" charset="0"/>
            </a:endParaRP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06</a:t>
            </a:r>
          </a:p>
          <a:p>
            <a:pPr>
              <a:spcBef>
                <a:spcPts val="600"/>
              </a:spcBef>
            </a:pPr>
            <a:r>
              <a:rPr lang="cs-CZ" sz="1550" b="1" dirty="0" smtClean="0">
                <a:solidFill>
                  <a:srgbClr val="0070C0"/>
                </a:solidFill>
                <a:latin typeface="Century Gothic" pitchFamily="34" charset="0"/>
              </a:rPr>
              <a:t>2008</a:t>
            </a:r>
          </a:p>
          <a:p>
            <a:pPr>
              <a:spcBef>
                <a:spcPts val="600"/>
              </a:spcBef>
            </a:pPr>
            <a:endParaRPr lang="en-US" sz="1550" b="1" dirty="0" err="1" smtClean="0">
              <a:solidFill>
                <a:srgbClr val="0070C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20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211" y="251291"/>
            <a:ext cx="7186470" cy="873218"/>
          </a:xfrm>
        </p:spPr>
        <p:txBody>
          <a:bodyPr/>
          <a:lstStyle/>
          <a:p>
            <a:r>
              <a:rPr lang="cs-CZ" dirty="0" smtClean="0"/>
              <a:t>Sazby na dně. Dobrá nebo špatná zpráv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pic>
        <p:nvPicPr>
          <p:cNvPr id="6" name="Picture 5" descr="C:\Documents and Settings\cza35200\Local Settings\Temporary Internet Files\Content.IE5\A74ZU2H1\MC900440380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124" y="1274837"/>
            <a:ext cx="4402766" cy="3302074"/>
          </a:xfrm>
          <a:prstGeom prst="rect">
            <a:avLst/>
          </a:prstGeom>
          <a:solidFill>
            <a:schemeClr val="bg1">
              <a:alpha val="0"/>
            </a:schemeClr>
          </a:solidFill>
          <a:extLst/>
        </p:spPr>
      </p:pic>
      <p:pic>
        <p:nvPicPr>
          <p:cNvPr id="7" name="Picture 6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844" y="3132559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7100" y="3052142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7959" y="2908957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7892" y="3026742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131" y="3052142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7693" y="3026742"/>
            <a:ext cx="854509" cy="854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C:\Documents and Settings\cza35200\Local Settings\Temporary Internet Files\Content.IE5\Z3GNPXNC\MC900441314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9817" y="3167041"/>
            <a:ext cx="1117848" cy="1117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9385221"/>
              </p:ext>
            </p:extLst>
          </p:nvPr>
        </p:nvGraphicFramePr>
        <p:xfrm>
          <a:off x="31369" y="1468323"/>
          <a:ext cx="10460833" cy="5633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/>
          <p:cNvSpPr txBox="1"/>
          <p:nvPr/>
        </p:nvSpPr>
        <p:spPr bwMode="auto">
          <a:xfrm>
            <a:off x="148094" y="7178939"/>
            <a:ext cx="4392488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Zdroj </a:t>
            </a:r>
            <a:r>
              <a:rPr lang="cs-CZ" sz="1600" dirty="0" err="1" smtClean="0"/>
              <a:t>Bloomberg</a:t>
            </a:r>
            <a:r>
              <a:rPr lang="cs-CZ" sz="1600" dirty="0" smtClean="0"/>
              <a:t>, září 2014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127121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</a:t>
            </a:r>
            <a:r>
              <a:rPr lang="cs-CZ" dirty="0" err="1" smtClean="0"/>
              <a:t>ůj</a:t>
            </a:r>
            <a:r>
              <a:rPr lang="cs-CZ" dirty="0" smtClean="0"/>
              <a:t> dům, můj hrad, má zkáza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43" y="1080831"/>
            <a:ext cx="6953865" cy="5618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 bwMode="auto">
          <a:xfrm>
            <a:off x="492649" y="7070007"/>
            <a:ext cx="9618759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Zdroj</a:t>
            </a:r>
            <a:r>
              <a:rPr lang="en-US" sz="1600" dirty="0"/>
              <a:t>:</a:t>
            </a:r>
            <a:r>
              <a:rPr lang="en-US" sz="1600" dirty="0" smtClean="0"/>
              <a:t> </a:t>
            </a:r>
            <a:r>
              <a:rPr lang="en-US" sz="1600" dirty="0" err="1" smtClean="0"/>
              <a:t>BIS</a:t>
            </a:r>
            <a:r>
              <a:rPr lang="cs-CZ" sz="1600" dirty="0" smtClean="0"/>
              <a:t>, Ceny nemovitostí jsou očištěny o růst spotřebitelských cen. září 2014.</a:t>
            </a:r>
            <a:endParaRPr lang="en-US" sz="1600" dirty="0" smtClean="0"/>
          </a:p>
        </p:txBody>
      </p:sp>
      <p:pic>
        <p:nvPicPr>
          <p:cNvPr id="4099" name="Picture 3" descr="C:\Documents and Settings\cza35200\Local Settings\Temporary Internet Files\Content.IE5\ORRS4GUX\MC900436003[1].w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4932" y="1902481"/>
            <a:ext cx="2952328" cy="2228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 bwMode="auto">
          <a:xfrm>
            <a:off x="1128249" y="5684013"/>
            <a:ext cx="1656184" cy="102865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2000" dirty="0" smtClean="0"/>
              <a:t>SRN</a:t>
            </a:r>
          </a:p>
          <a:p>
            <a:r>
              <a:rPr lang="cs-CZ" sz="2000" dirty="0" smtClean="0"/>
              <a:t>Japonsko </a:t>
            </a:r>
          </a:p>
          <a:p>
            <a:r>
              <a:rPr lang="cs-CZ" sz="2000" dirty="0" smtClean="0"/>
              <a:t>Švýcarsko</a:t>
            </a:r>
            <a:endParaRPr lang="en-US" sz="2000" dirty="0" smtClean="0"/>
          </a:p>
        </p:txBody>
      </p:sp>
      <p:sp>
        <p:nvSpPr>
          <p:cNvPr id="12" name="TextBox 11"/>
          <p:cNvSpPr txBox="1"/>
          <p:nvPr/>
        </p:nvSpPr>
        <p:spPr bwMode="auto">
          <a:xfrm>
            <a:off x="3178444" y="5708439"/>
            <a:ext cx="1347908" cy="7208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2000" dirty="0" smtClean="0"/>
              <a:t>Švédsko</a:t>
            </a:r>
          </a:p>
          <a:p>
            <a:r>
              <a:rPr lang="cs-CZ" sz="2000" dirty="0" smtClean="0"/>
              <a:t>Nizozemí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5187674" y="5708439"/>
            <a:ext cx="1347908" cy="72087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2000" dirty="0" smtClean="0"/>
              <a:t>Dánsko</a:t>
            </a:r>
          </a:p>
          <a:p>
            <a:r>
              <a:rPr lang="cs-CZ" sz="2000" dirty="0" smtClean="0"/>
              <a:t>Norsko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331303" y="1097141"/>
            <a:ext cx="3096344" cy="45926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b="1" dirty="0" smtClean="0"/>
              <a:t>Ceny nemovitostí</a:t>
            </a:r>
            <a:endParaRPr lang="en-US" b="1" dirty="0" smtClean="0"/>
          </a:p>
        </p:txBody>
      </p:sp>
    </p:spTree>
    <p:extLst>
      <p:ext uri="{BB962C8B-B14F-4D97-AF65-F5344CB8AC3E}">
        <p14:creationId xmlns:p14="http://schemas.microsoft.com/office/powerpoint/2010/main" val="447044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Míry 10-10-20 nebo 20-10-30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482FC1-01E1-434C-9081-90F3D906F7D5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 bwMode="auto">
          <a:xfrm>
            <a:off x="333624" y="7172289"/>
            <a:ext cx="4392488" cy="382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800" dirty="0" smtClean="0"/>
              <a:t>Zdroj </a:t>
            </a:r>
            <a:r>
              <a:rPr lang="cs-CZ" sz="1800" dirty="0" err="1" smtClean="0"/>
              <a:t>Eurostat</a:t>
            </a:r>
            <a:r>
              <a:rPr lang="cs-CZ" sz="1800" dirty="0" smtClean="0"/>
              <a:t>, září 2014.</a:t>
            </a:r>
            <a:endParaRPr lang="en-US" sz="1800" dirty="0" smtClean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601258201"/>
              </p:ext>
            </p:extLst>
          </p:nvPr>
        </p:nvGraphicFramePr>
        <p:xfrm>
          <a:off x="0" y="1232453"/>
          <a:ext cx="9992140" cy="14842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3873098"/>
              </p:ext>
            </p:extLst>
          </p:nvPr>
        </p:nvGraphicFramePr>
        <p:xfrm>
          <a:off x="234132" y="2916535"/>
          <a:ext cx="4896544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1789843"/>
              </p:ext>
            </p:extLst>
          </p:nvPr>
        </p:nvGraphicFramePr>
        <p:xfrm>
          <a:off x="5346700" y="2916535"/>
          <a:ext cx="4608512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027" name="Picture 3" descr="C:\Documents and Settings\cza35200\Local Settings\Temporary Internet Files\Content.IE5\ORRS4GUX\MC900097717[1].wm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8948" y="4788743"/>
            <a:ext cx="1224136" cy="129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2129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Peněz hodně, úvěrů má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36738"/>
            <a:ext cx="5040313" cy="450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9622223"/>
              </p:ext>
            </p:extLst>
          </p:nvPr>
        </p:nvGraphicFramePr>
        <p:xfrm>
          <a:off x="234132" y="1478843"/>
          <a:ext cx="7272808" cy="5470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extBox 5"/>
          <p:cNvSpPr txBox="1"/>
          <p:nvPr/>
        </p:nvSpPr>
        <p:spPr bwMode="auto">
          <a:xfrm>
            <a:off x="234132" y="7170531"/>
            <a:ext cx="4392488" cy="320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400" dirty="0" smtClean="0"/>
              <a:t>Zdroj </a:t>
            </a:r>
            <a:r>
              <a:rPr lang="cs-CZ" sz="1400" dirty="0" err="1" smtClean="0"/>
              <a:t>Eurostat</a:t>
            </a:r>
            <a:r>
              <a:rPr lang="cs-CZ" sz="1400" dirty="0" smtClean="0"/>
              <a:t>, září 2014.</a:t>
            </a:r>
            <a:endParaRPr lang="en-US" sz="1400" dirty="0" smtClean="0"/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7508752"/>
              </p:ext>
            </p:extLst>
          </p:nvPr>
        </p:nvGraphicFramePr>
        <p:xfrm>
          <a:off x="7614952" y="2039187"/>
          <a:ext cx="2952328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/>
          <p:cNvSpPr txBox="1"/>
          <p:nvPr/>
        </p:nvSpPr>
        <p:spPr bwMode="auto">
          <a:xfrm>
            <a:off x="7866980" y="1476375"/>
            <a:ext cx="2448272" cy="45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i="1" dirty="0" err="1" smtClean="0"/>
              <a:t>Alá</a:t>
            </a:r>
            <a:r>
              <a:rPr lang="cs-CZ" dirty="0" smtClean="0"/>
              <a:t> Japonsko…</a:t>
            </a: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 bwMode="auto">
          <a:xfrm>
            <a:off x="1225456" y="1706009"/>
            <a:ext cx="2736304" cy="4592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b="1" dirty="0" smtClean="0"/>
              <a:t>Objem úvěrů</a:t>
            </a:r>
            <a:endParaRPr lang="en-US" b="1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8329118" y="4638261"/>
            <a:ext cx="1795543" cy="371063"/>
          </a:xfrm>
          <a:prstGeom prst="rect">
            <a:avLst/>
          </a:prstGeom>
          <a:noFill/>
          <a:ln w="9525">
            <a:noFill/>
          </a:ln>
        </p:spPr>
        <p:txBody>
          <a:bodyPr vert="vert270" wrap="square" lIns="108000" tIns="144000" rIns="108000" bIns="0" rtlCol="0">
            <a:noAutofit/>
          </a:bodyPr>
          <a:lstStyle/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00 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03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06 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09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12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C00000"/>
                </a:solidFill>
                <a:latin typeface="Century Gothic" pitchFamily="34" charset="0"/>
              </a:rPr>
              <a:t>14</a:t>
            </a:r>
            <a:endParaRPr lang="en-US" sz="1500" b="1" dirty="0" err="1" smtClean="0">
              <a:solidFill>
                <a:srgbClr val="C00000"/>
              </a:solidFill>
              <a:latin typeface="Century Gothic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42370" y="4373212"/>
            <a:ext cx="1795543" cy="371063"/>
          </a:xfrm>
          <a:prstGeom prst="rect">
            <a:avLst/>
          </a:prstGeom>
          <a:noFill/>
          <a:ln w="9525">
            <a:noFill/>
          </a:ln>
        </p:spPr>
        <p:txBody>
          <a:bodyPr vert="vert270" wrap="square" lIns="108000" tIns="144000" rIns="108000" bIns="0" rtlCol="0">
            <a:noAutofit/>
          </a:bodyPr>
          <a:lstStyle/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00B0F0"/>
                </a:solidFill>
                <a:latin typeface="Century Gothic" pitchFamily="34" charset="0"/>
              </a:rPr>
              <a:t>09 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00B0F0"/>
                </a:solidFill>
                <a:latin typeface="Century Gothic" pitchFamily="34" charset="0"/>
              </a:rPr>
              <a:t>11</a:t>
            </a:r>
          </a:p>
          <a:p>
            <a:pPr>
              <a:lnSpc>
                <a:spcPts val="1800"/>
              </a:lnSpc>
            </a:pPr>
            <a:r>
              <a:rPr lang="cs-CZ" sz="1500" b="1" dirty="0" smtClean="0">
                <a:solidFill>
                  <a:srgbClr val="00B0F0"/>
                </a:solidFill>
                <a:latin typeface="Century Gothic" pitchFamily="34" charset="0"/>
              </a:rPr>
              <a:t>13</a:t>
            </a:r>
          </a:p>
          <a:p>
            <a:pPr>
              <a:lnSpc>
                <a:spcPts val="1700"/>
              </a:lnSpc>
            </a:pPr>
            <a:endParaRPr lang="cs-CZ" sz="1500" b="1" dirty="0" smtClean="0">
              <a:solidFill>
                <a:srgbClr val="00B0F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99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cs-CZ" sz="3200" dirty="0" smtClean="0"/>
              <a:t>Silný bankovní sektor – nutná podmínka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027" name="Picture 3" descr="C:\Documents and Settings\cza35200\Local Settings\Temporary Internet Files\Content.IE5\K4LNTBOR\MC900242211[1]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1036" y="1692399"/>
            <a:ext cx="1719072" cy="1825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Documents and Settings\cza35200\Local Settings\Temporary Internet Files\Content.IE5\X26S3GRP\MC900056481[1]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1366" y="4356695"/>
            <a:ext cx="1818742" cy="1682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92512"/>
              </p:ext>
            </p:extLst>
          </p:nvPr>
        </p:nvGraphicFramePr>
        <p:xfrm>
          <a:off x="450156" y="1613495"/>
          <a:ext cx="7560840" cy="5047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 bwMode="auto">
          <a:xfrm>
            <a:off x="399885" y="7178939"/>
            <a:ext cx="4392488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Zdroj: Bank </a:t>
            </a:r>
            <a:r>
              <a:rPr lang="cs-CZ" sz="1600" dirty="0" err="1" smtClean="0"/>
              <a:t>of</a:t>
            </a:r>
            <a:r>
              <a:rPr lang="cs-CZ" sz="1600" dirty="0" smtClean="0"/>
              <a:t> Japan, </a:t>
            </a:r>
            <a:r>
              <a:rPr lang="cs-CZ" sz="1600" dirty="0" err="1" smtClean="0"/>
              <a:t>ECB</a:t>
            </a:r>
            <a:r>
              <a:rPr lang="cs-CZ" sz="1600" dirty="0" smtClean="0"/>
              <a:t>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371939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tárnoucí populace – výzva  a hrozba století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54BDF6-AD53-4BEF-9A2E-8D49A736BBC3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pic>
        <p:nvPicPr>
          <p:cNvPr id="2053" name="Picture 5" descr="[Illustration] from Japanese Twins by Lucy F. Perkin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749" y="1600890"/>
            <a:ext cx="1698360" cy="2412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Grandfather - Black and White Cartoon illustr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58" y="4572719"/>
            <a:ext cx="1824865" cy="240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 bwMode="auto">
          <a:xfrm>
            <a:off x="7275742" y="3420591"/>
            <a:ext cx="3240360" cy="2936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dirty="0" smtClean="0"/>
              <a:t>„Téměř čtvrtina Japonců je starších 65 let. V roce 2060 počet Japonců poklesne ze 127 miliónů  na 87 miliónů, z čehož </a:t>
            </a:r>
          </a:p>
          <a:p>
            <a:r>
              <a:rPr lang="cs-CZ" dirty="0" smtClean="0"/>
              <a:t>40 </a:t>
            </a:r>
            <a:r>
              <a:rPr lang="en-US" dirty="0" smtClean="0"/>
              <a:t>%</a:t>
            </a:r>
            <a:r>
              <a:rPr lang="cs-CZ" dirty="0" smtClean="0"/>
              <a:t>  bude 65 a více let!</a:t>
            </a:r>
            <a:r>
              <a:rPr lang="en-US" dirty="0" smtClean="0"/>
              <a:t>” </a:t>
            </a:r>
            <a:r>
              <a:rPr lang="cs-CZ" dirty="0" smtClean="0"/>
              <a:t>(</a:t>
            </a:r>
            <a:r>
              <a:rPr lang="cs-CZ" sz="2000" i="1" dirty="0" err="1" smtClean="0"/>
              <a:t>Economist</a:t>
            </a:r>
            <a:r>
              <a:rPr lang="cs-CZ" sz="2000" i="1" dirty="0" smtClean="0"/>
              <a:t>, </a:t>
            </a:r>
            <a:r>
              <a:rPr lang="cs-CZ" sz="2000" i="1" dirty="0" err="1" smtClean="0"/>
              <a:t>March</a:t>
            </a:r>
            <a:r>
              <a:rPr lang="cs-CZ" sz="2000" i="1" dirty="0" smtClean="0"/>
              <a:t> 25, 2014</a:t>
            </a:r>
            <a:r>
              <a:rPr lang="cs-CZ" dirty="0" smtClean="0"/>
              <a:t>)</a:t>
            </a:r>
            <a:endParaRPr lang="en-US" dirty="0" smtClean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8383" y="1477869"/>
            <a:ext cx="4120780" cy="5615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 descr="C:\Documents and Settings\cza35200\Local Settings\Temporary Internet Files\Content.IE5\SG9Q19GX\MC900239627[1]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989" y="1836415"/>
            <a:ext cx="1787652" cy="1345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539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… a s dluhem na věčné čas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482FC1-01E1-434C-9081-90F3D906F7D5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771" y="1126435"/>
            <a:ext cx="8006281" cy="5495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 bwMode="auto">
          <a:xfrm>
            <a:off x="423401" y="7062389"/>
            <a:ext cx="4392488" cy="351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1600" dirty="0" smtClean="0"/>
              <a:t>Zdroj: OECD</a:t>
            </a:r>
            <a:endParaRPr lang="en-US" sz="1600" dirty="0" smtClean="0"/>
          </a:p>
        </p:txBody>
      </p:sp>
      <p:pic>
        <p:nvPicPr>
          <p:cNvPr id="2051" name="Picture 3" descr="C:\Documents and Settings\cza35200\Local Settings\Temporary Internet Files\Content.IE5\SG9Q19GX\MC910217521[1]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3004" y="1531011"/>
            <a:ext cx="2369773" cy="208986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6" name="TextBox 5"/>
          <p:cNvSpPr txBox="1"/>
          <p:nvPr/>
        </p:nvSpPr>
        <p:spPr bwMode="auto">
          <a:xfrm>
            <a:off x="9595172" y="2575941"/>
            <a:ext cx="360040" cy="459268"/>
          </a:xfrm>
          <a:prstGeom prst="rect">
            <a:avLst/>
          </a:prstGeom>
          <a:solidFill>
            <a:srgbClr val="99663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¥</a:t>
            </a:r>
            <a:endParaRPr lang="en-US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1282473" y="1175564"/>
            <a:ext cx="6695335" cy="10748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cs-CZ" b="1" dirty="0" smtClean="0"/>
              <a:t>Čisté závazky vlády v  % HDP</a:t>
            </a:r>
          </a:p>
          <a:p>
            <a:pPr algn="ctr"/>
            <a:endParaRPr lang="cs-CZ" b="1" dirty="0" smtClean="0"/>
          </a:p>
          <a:p>
            <a:endParaRPr lang="en-US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7675132" y="3395584"/>
            <a:ext cx="2266827" cy="232935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SRN</a:t>
            </a:r>
          </a:p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Itálie</a:t>
            </a:r>
          </a:p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Japonsko</a:t>
            </a:r>
          </a:p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Španělsko</a:t>
            </a:r>
          </a:p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Velká Británie</a:t>
            </a:r>
          </a:p>
          <a:p>
            <a:pPr>
              <a:lnSpc>
                <a:spcPts val="1900"/>
              </a:lnSpc>
              <a:spcBef>
                <a:spcPts val="1000"/>
              </a:spcBef>
            </a:pPr>
            <a:r>
              <a:rPr lang="cs-CZ" sz="1800" b="1" dirty="0" smtClean="0">
                <a:latin typeface="Century Gothic" pitchFamily="34" charset="0"/>
              </a:rPr>
              <a:t>USA</a:t>
            </a:r>
            <a:endParaRPr lang="en-US" sz="1800" b="1" dirty="0" err="1" smtClean="0">
              <a:latin typeface="Century Gothic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3586" y="2107096"/>
            <a:ext cx="487343" cy="404191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vert="vert270"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Čisté finanční závazky vlády </a:t>
            </a:r>
            <a:r>
              <a:rPr lang="cs-CZ" sz="1600" b="1" dirty="0" smtClean="0">
                <a:latin typeface="Century Gothic" pitchFamily="34" charset="0"/>
              </a:rPr>
              <a:t>v % HDP</a:t>
            </a:r>
            <a:endParaRPr lang="en-US" sz="1600" b="1" dirty="0" err="1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92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Hloupý vtip??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18</a:t>
            </a:fld>
            <a:endParaRPr lang="en-US" noProof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795" y="1836415"/>
            <a:ext cx="8481808" cy="536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loud Callout 5"/>
          <p:cNvSpPr/>
          <p:nvPr/>
        </p:nvSpPr>
        <p:spPr>
          <a:xfrm>
            <a:off x="3466820" y="1692398"/>
            <a:ext cx="2383936" cy="1872209"/>
          </a:xfrm>
          <a:prstGeom prst="cloudCallout">
            <a:avLst>
              <a:gd name="adj1" fmla="val -7328"/>
              <a:gd name="adj2" fmla="val 76695"/>
            </a:avLst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dirty="0" smtClean="0">
                <a:solidFill>
                  <a:schemeClr val="tx1"/>
                </a:solidFill>
                <a:latin typeface="Comic Sans MS" panose="030F0702030302020204" pitchFamily="66" charset="0"/>
              </a:rPr>
              <a:t>Ruce vzhůru! Berte prachy!</a:t>
            </a:r>
            <a:endParaRPr lang="en-US" sz="2000" dirty="0">
              <a:solidFill>
                <a:schemeClr val="tx1"/>
              </a:solidFill>
              <a:latin typeface="Comic Sans MS" panose="030F0702030302020204" pitchFamily="66" charset="0"/>
            </a:endParaRPr>
          </a:p>
        </p:txBody>
      </p:sp>
      <p:sp>
        <p:nvSpPr>
          <p:cNvPr id="7" name="TextBox 6"/>
          <p:cNvSpPr txBox="1"/>
          <p:nvPr/>
        </p:nvSpPr>
        <p:spPr bwMode="auto">
          <a:xfrm>
            <a:off x="3618508" y="4755636"/>
            <a:ext cx="864096" cy="5362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2800" b="1" dirty="0" err="1" smtClean="0">
                <a:latin typeface="Freestyle Script" panose="030804020302050B0404" pitchFamily="66" charset="0"/>
              </a:rPr>
              <a:t>ECB</a:t>
            </a:r>
            <a:endParaRPr lang="en-US" sz="2800" b="1" dirty="0" smtClean="0">
              <a:latin typeface="Freestyle Script" panose="030804020302050B0404" pitchFamily="66" charset="0"/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7866980" y="3420591"/>
            <a:ext cx="1289606" cy="65932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cs-CZ" sz="3600" b="1" dirty="0" smtClean="0">
                <a:latin typeface="Freestyle Script" panose="030804020302050B0404" pitchFamily="66" charset="0"/>
              </a:rPr>
              <a:t>KASA</a:t>
            </a:r>
            <a:endParaRPr lang="en-US" sz="3600" b="1" dirty="0">
              <a:latin typeface="Freestyle Script" panose="030804020302050B0404" pitchFamily="66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5274692" y="4643406"/>
            <a:ext cx="1224136" cy="108144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b="1" dirty="0" smtClean="0">
                <a:latin typeface="Freestyle Script" panose="030804020302050B0404" pitchFamily="66" charset="0"/>
              </a:rPr>
              <a:t>€</a:t>
            </a:r>
            <a:r>
              <a:rPr lang="cs-CZ" sz="1600" b="1" dirty="0">
                <a:latin typeface="Freestyle Script" panose="030804020302050B0404" pitchFamily="66" charset="0"/>
              </a:rPr>
              <a:t>€</a:t>
            </a:r>
          </a:p>
          <a:p>
            <a:pPr algn="ctr"/>
            <a:r>
              <a:rPr lang="cs-CZ" sz="3600" dirty="0">
                <a:solidFill>
                  <a:schemeClr val="tx1"/>
                </a:solidFill>
                <a:latin typeface="Comic Sans MS" panose="030F0702030302020204" pitchFamily="66" charset="0"/>
              </a:rPr>
              <a:t>€</a:t>
            </a:r>
          </a:p>
          <a:p>
            <a:pPr algn="ctr"/>
            <a:r>
              <a:rPr lang="cs-CZ" sz="1600" dirty="0">
                <a:solidFill>
                  <a:schemeClr val="tx1"/>
                </a:solidFill>
                <a:latin typeface="Comic Sans MS" panose="030F0702030302020204" pitchFamily="66" charset="0"/>
              </a:rPr>
              <a:t>-0,02%</a:t>
            </a:r>
            <a:endParaRPr lang="en-US" sz="1600" dirty="0">
              <a:solidFill>
                <a:schemeClr val="tx1"/>
              </a:solidFill>
              <a:latin typeface="Comic Sans MS" panose="030F0702030302020204" pitchFamily="66" charset="0"/>
            </a:endParaRPr>
          </a:p>
          <a:p>
            <a:pPr algn="ctr"/>
            <a:endParaRPr lang="cs-CZ" sz="1600" b="1" dirty="0">
              <a:latin typeface="Freestyle Script" panose="030804020302050B0404" pitchFamily="66" charset="0"/>
            </a:endParaRPr>
          </a:p>
          <a:p>
            <a:pPr algn="ctr"/>
            <a:r>
              <a:rPr lang="cs-CZ" sz="1600" b="1" dirty="0">
                <a:latin typeface="Freestyle Script" panose="030804020302050B0404" pitchFamily="66" charset="0"/>
              </a:rPr>
              <a:t>-0,02%</a:t>
            </a:r>
            <a:endParaRPr lang="en-US" sz="1600" b="1" dirty="0">
              <a:latin typeface="Freestyle Script" panose="030804020302050B04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55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</a:t>
            </a:r>
            <a:r>
              <a:rPr lang="cs-CZ" dirty="0" err="1"/>
              <a:t>ůležité</a:t>
            </a:r>
            <a:r>
              <a:rPr lang="cs-CZ" dirty="0"/>
              <a:t> upozornění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9482FC1-01E1-434C-9081-90F3D906F7D5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4" name="TextBox 3"/>
          <p:cNvSpPr txBox="1"/>
          <p:nvPr/>
        </p:nvSpPr>
        <p:spPr bwMode="auto">
          <a:xfrm>
            <a:off x="306140" y="1649977"/>
            <a:ext cx="10153128" cy="5691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4306" tIns="52153" rIns="104306" bIns="521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just">
              <a:tabLst>
                <a:tab pos="1077913" algn="l"/>
              </a:tabLst>
            </a:pPr>
            <a:r>
              <a:rPr lang="cs-CZ" dirty="0" smtClean="0"/>
              <a:t>Kontakt: Helena Horská</a:t>
            </a:r>
            <a:endParaRPr lang="en-US" dirty="0" smtClean="0"/>
          </a:p>
          <a:p>
            <a:pPr algn="just">
              <a:tabLst>
                <a:tab pos="1077913" algn="l"/>
              </a:tabLst>
            </a:pPr>
            <a:r>
              <a:rPr lang="en-US" dirty="0"/>
              <a:t>	</a:t>
            </a:r>
            <a:r>
              <a:rPr lang="cs-CZ" dirty="0" smtClean="0"/>
              <a:t>hlavní ekonomka </a:t>
            </a:r>
            <a:r>
              <a:rPr lang="cs-CZ" dirty="0" err="1" smtClean="0"/>
              <a:t>Raiffeisenbank</a:t>
            </a:r>
            <a:r>
              <a:rPr lang="cs-CZ" dirty="0" smtClean="0"/>
              <a:t> a.s.</a:t>
            </a:r>
          </a:p>
          <a:p>
            <a:pPr algn="just">
              <a:tabLst>
                <a:tab pos="1077913" algn="l"/>
              </a:tabLst>
            </a:pPr>
            <a:r>
              <a:rPr lang="en-US" dirty="0" smtClean="0"/>
              <a:t>	</a:t>
            </a:r>
            <a:r>
              <a:rPr lang="cs-CZ" dirty="0" smtClean="0"/>
              <a:t>+725 526 678</a:t>
            </a:r>
            <a:endParaRPr lang="en-US" dirty="0" smtClean="0"/>
          </a:p>
          <a:p>
            <a:pPr algn="just">
              <a:tabLst>
                <a:tab pos="1077913" algn="l"/>
              </a:tabLst>
            </a:pPr>
            <a:r>
              <a:rPr lang="en-US" dirty="0"/>
              <a:t>	</a:t>
            </a:r>
            <a:r>
              <a:rPr lang="cs-CZ" dirty="0" err="1" smtClean="0">
                <a:hlinkClick r:id="rId3"/>
              </a:rPr>
              <a:t>helena.horska</a:t>
            </a:r>
            <a:r>
              <a:rPr lang="en-US" dirty="0" smtClean="0">
                <a:hlinkClick r:id="rId3"/>
              </a:rPr>
              <a:t>@</a:t>
            </a:r>
            <a:r>
              <a:rPr lang="en-US" dirty="0" err="1" smtClean="0">
                <a:hlinkClick r:id="rId3"/>
              </a:rPr>
              <a:t>rb.cz</a:t>
            </a:r>
            <a:endParaRPr lang="en-US" dirty="0" smtClean="0"/>
          </a:p>
          <a:p>
            <a:pPr algn="just">
              <a:tabLst>
                <a:tab pos="1077913" algn="l"/>
              </a:tabLst>
            </a:pPr>
            <a:r>
              <a:rPr lang="cs-CZ" dirty="0" smtClean="0"/>
              <a:t>Termín uzávěrky: 12. listopadu 2014, </a:t>
            </a:r>
            <a:r>
              <a:rPr lang="cs-CZ" dirty="0" err="1" smtClean="0"/>
              <a:t>12:00h</a:t>
            </a:r>
            <a:endParaRPr lang="cs-CZ" dirty="0" smtClean="0"/>
          </a:p>
          <a:p>
            <a:pPr algn="just">
              <a:tabLst>
                <a:tab pos="1077913" algn="l"/>
              </a:tabLst>
            </a:pPr>
            <a:endParaRPr lang="en-US" dirty="0"/>
          </a:p>
          <a:p>
            <a:pPr algn="just">
              <a:tabLst>
                <a:tab pos="1077913" algn="l"/>
              </a:tabLst>
            </a:pPr>
            <a:r>
              <a:rPr lang="en-US" dirty="0" smtClean="0"/>
              <a:t>D</a:t>
            </a:r>
            <a:r>
              <a:rPr lang="cs-CZ" dirty="0" err="1" smtClean="0"/>
              <a:t>ůležité</a:t>
            </a:r>
            <a:r>
              <a:rPr lang="cs-CZ" dirty="0" smtClean="0"/>
              <a:t> upozornění:</a:t>
            </a:r>
          </a:p>
          <a:p>
            <a:pPr algn="just">
              <a:tabLst>
                <a:tab pos="1077913" algn="l"/>
              </a:tabLst>
            </a:pPr>
            <a:r>
              <a:rPr lang="cs-CZ" sz="12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200" dirty="0" err="1"/>
              <a:t>Raiffeisenbank</a:t>
            </a:r>
            <a:r>
              <a:rPr lang="cs-CZ" sz="1200" dirty="0"/>
              <a:t> a.s. („</a:t>
            </a:r>
            <a:r>
              <a:rPr lang="cs-CZ" sz="1200" dirty="0" err="1"/>
              <a:t>RB</a:t>
            </a:r>
            <a:r>
              <a:rPr lang="cs-CZ" sz="1200" dirty="0"/>
              <a:t>“). Tento dokument nepředstavuje nabídku nákupu nebo prodeje jakéhokoli finančního aktiva nebo jiného finančního instrumentu. Dokument je určen výhradně pro potřeby adresáta a nesmí být kopírován a rozšiřován třetím osobám. </a:t>
            </a:r>
            <a:r>
              <a:rPr lang="cs-CZ" sz="1200" dirty="0" err="1"/>
              <a:t>RB</a:t>
            </a:r>
            <a:r>
              <a:rPr lang="cs-CZ" sz="1200" dirty="0"/>
              <a:t> doporučuje před učiněním jakéhokoli investičního rozhodnutí získání podrobných informací o zamýšlené investici nebo obchodu. </a:t>
            </a:r>
            <a:r>
              <a:rPr lang="cs-CZ" sz="1200" dirty="0" err="1"/>
              <a:t>RB</a:t>
            </a:r>
            <a:r>
              <a:rPr lang="cs-CZ" sz="1200" dirty="0"/>
              <a:t> vypracovala tento dokument s nejvyšší odbornou péčí a v dobré víře, avšak neručí za správnost jeho obsahu ani za jeho úplnost nebo přesnost. </a:t>
            </a:r>
            <a:r>
              <a:rPr lang="cs-CZ" sz="1200" dirty="0" err="1"/>
              <a:t>RB</a:t>
            </a:r>
            <a:r>
              <a:rPr lang="cs-CZ" sz="1200" dirty="0"/>
              <a:t> a </a:t>
            </a:r>
            <a:r>
              <a:rPr lang="cs-CZ" sz="1200" dirty="0" err="1"/>
              <a:t>RBI</a:t>
            </a:r>
            <a:r>
              <a:rPr lang="cs-CZ" sz="1200" dirty="0"/>
              <a:t> obecně zakazuje svým analytikům a osobám </a:t>
            </a:r>
            <a:r>
              <a:rPr lang="cs-CZ" sz="1200" dirty="0" err="1"/>
              <a:t>reportujícím</a:t>
            </a:r>
            <a:r>
              <a:rPr lang="cs-CZ" sz="12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200" dirty="0" err="1"/>
              <a:t>Compliance</a:t>
            </a:r>
            <a:r>
              <a:rPr lang="cs-CZ" sz="1200" dirty="0"/>
              <a:t> </a:t>
            </a:r>
            <a:r>
              <a:rPr lang="cs-CZ" sz="1200" dirty="0" err="1"/>
              <a:t>RB</a:t>
            </a:r>
            <a:r>
              <a:rPr lang="cs-CZ" sz="1200" dirty="0"/>
              <a:t> nebo </a:t>
            </a:r>
            <a:r>
              <a:rPr lang="cs-CZ" sz="1200" dirty="0" err="1"/>
              <a:t>RBI</a:t>
            </a:r>
            <a:r>
              <a:rPr lang="cs-CZ" sz="1200" dirty="0"/>
              <a:t>. </a:t>
            </a:r>
            <a:r>
              <a:rPr lang="cs-CZ" sz="1200" dirty="0" err="1"/>
              <a:t>RB</a:t>
            </a:r>
            <a:r>
              <a:rPr lang="cs-CZ" sz="1200" dirty="0"/>
              <a:t>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dle vyhlášky č. 114/2006 Sb., o poctivé prezentaci investičních doporučení, naleznete na webové stránce </a:t>
            </a:r>
            <a:r>
              <a:rPr lang="cs-CZ" sz="1200" dirty="0" err="1"/>
              <a:t>Raiffeisenbank</a:t>
            </a:r>
            <a:r>
              <a:rPr lang="cs-CZ" sz="1200" dirty="0"/>
              <a:t> a.s. v sekci Analýzy – </a:t>
            </a:r>
            <a:r>
              <a:rPr lang="cs-CZ" sz="1200" dirty="0" err="1"/>
              <a:t>Disclaimer</a:t>
            </a:r>
            <a:r>
              <a:rPr lang="cs-CZ" sz="1200" dirty="0"/>
              <a:t>, viz </a:t>
            </a:r>
            <a:r>
              <a:rPr lang="cs-CZ" sz="1200" u="sng" dirty="0">
                <a:hlinkClick r:id="rId4"/>
              </a:rPr>
              <a:t>https://</a:t>
            </a:r>
            <a:r>
              <a:rPr lang="cs-CZ" sz="1200" u="sng" dirty="0" err="1">
                <a:hlinkClick r:id="rId4"/>
              </a:rPr>
              <a:t>investice.rb.cz</a:t>
            </a:r>
            <a:r>
              <a:rPr lang="cs-CZ" sz="1200" u="sng" dirty="0">
                <a:hlinkClick r:id="rId4"/>
              </a:rPr>
              <a:t>/</a:t>
            </a:r>
            <a:r>
              <a:rPr lang="cs-CZ" sz="1200" u="sng" dirty="0" err="1">
                <a:hlinkClick r:id="rId4"/>
              </a:rPr>
              <a:t>fileadmin</a:t>
            </a:r>
            <a:r>
              <a:rPr lang="cs-CZ" sz="1200" u="sng" dirty="0">
                <a:hlinkClick r:id="rId4"/>
              </a:rPr>
              <a:t>/</a:t>
            </a:r>
            <a:r>
              <a:rPr lang="cs-CZ" sz="1200" u="sng" dirty="0" err="1">
                <a:hlinkClick r:id="rId4"/>
              </a:rPr>
              <a:t>files</a:t>
            </a:r>
            <a:r>
              <a:rPr lang="cs-CZ" sz="1200" u="sng" dirty="0">
                <a:hlinkClick r:id="rId4"/>
              </a:rPr>
              <a:t>/</a:t>
            </a:r>
            <a:r>
              <a:rPr lang="cs-CZ" sz="1200" u="sng" dirty="0" err="1">
                <a:hlinkClick r:id="rId4"/>
              </a:rPr>
              <a:t>disclaimer_RBroker.pdf</a:t>
            </a:r>
            <a:r>
              <a:rPr lang="cs-CZ" sz="1200" dirty="0"/>
              <a:t> .Dohledovým orgánem pro </a:t>
            </a:r>
            <a:r>
              <a:rPr lang="cs-CZ" sz="1200" dirty="0" err="1"/>
              <a:t>Raiffeisenbank</a:t>
            </a:r>
            <a:r>
              <a:rPr lang="cs-CZ" sz="1200" dirty="0"/>
              <a:t> a.s. je </a:t>
            </a:r>
            <a:r>
              <a:rPr lang="cs-CZ" sz="1200" dirty="0" err="1"/>
              <a:t>Èeská</a:t>
            </a:r>
            <a:r>
              <a:rPr lang="cs-CZ" sz="1200" dirty="0"/>
              <a:t> národní banka, Na </a:t>
            </a:r>
            <a:r>
              <a:rPr lang="cs-CZ" sz="1200" dirty="0" err="1" smtClean="0"/>
              <a:t>Přííkopě</a:t>
            </a:r>
            <a:r>
              <a:rPr lang="cs-CZ" sz="1200" dirty="0" smtClean="0"/>
              <a:t> </a:t>
            </a:r>
            <a:r>
              <a:rPr lang="cs-CZ" sz="1200" dirty="0"/>
              <a:t>28, Praha 4</a:t>
            </a:r>
            <a:r>
              <a:rPr lang="cs-CZ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40134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cénář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898462-610A-4302-B904-CB17D3765276}" type="datetime1">
              <a:rPr lang="cs-CZ" smtClean="0"/>
              <a:pPr>
                <a:defRPr/>
              </a:pPr>
              <a:t>14.11.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/ s</a:t>
            </a:r>
            <a:r>
              <a:rPr lang="cs-CZ" smtClean="0"/>
              <a:t>lid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898261-C03D-4E48-B7D2-6850D7F5614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94171" y="1620391"/>
            <a:ext cx="971601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dirty="0" smtClean="0"/>
              <a:t>Deflace – co to j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dirty="0"/>
              <a:t>Strašák </a:t>
            </a:r>
            <a:r>
              <a:rPr lang="cs-CZ" sz="3200" dirty="0" smtClean="0"/>
              <a:t>deflace – pouze učebnicový příklad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dirty="0" smtClean="0"/>
              <a:t>Co </a:t>
            </a:r>
            <a:r>
              <a:rPr lang="cs-CZ" sz="3200" dirty="0"/>
              <a:t>se děje v Evropě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dirty="0" smtClean="0"/>
              <a:t>Pár </a:t>
            </a:r>
            <a:r>
              <a:rPr lang="cs-CZ" sz="3200" dirty="0"/>
              <a:t>podobností a ne náhodných  (stárnutí obyvatel, vysoké ceny nemovitostí</a:t>
            </a:r>
            <a:r>
              <a:rPr lang="cs-CZ" sz="3200" dirty="0" smtClean="0"/>
              <a:t>,…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dirty="0"/>
              <a:t>Sazby na dně. Dobře nebo špatně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cs-CZ" sz="3200" u="sng" dirty="0" smtClean="0"/>
              <a:t>Blok </a:t>
            </a:r>
            <a:r>
              <a:rPr lang="cs-CZ" sz="3200" u="sng" dirty="0"/>
              <a:t>zvídavých otázek a odpovědí</a:t>
            </a:r>
          </a:p>
        </p:txBody>
      </p:sp>
    </p:spTree>
    <p:extLst>
      <p:ext uri="{BB962C8B-B14F-4D97-AF65-F5344CB8AC3E}">
        <p14:creationId xmlns:p14="http://schemas.microsoft.com/office/powerpoint/2010/main" val="257950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encrypted-tbn3.gstatic.com/images?q=tbn:ANd9GcTb4O1wmskt1YXR51zTO0eDy9gkBeDjqemfzDuJxcqGm1PIitiE-RQFhdQ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225" y="1401809"/>
            <a:ext cx="9041176" cy="5383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eflace – co to je??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622085185"/>
              </p:ext>
            </p:extLst>
          </p:nvPr>
        </p:nvGraphicFramePr>
        <p:xfrm>
          <a:off x="0" y="1921154"/>
          <a:ext cx="7128933" cy="47526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86916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://upload.wikimedia.org/wikipedia/commons/thumb/5/54/Lange-MigrantMother02.jpg/260px-Lange-MigrantMother02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261" y="3723873"/>
            <a:ext cx="2579066" cy="3352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Strašák deflace – pouze učebnicový příklad</a:t>
            </a:r>
            <a:r>
              <a:rPr lang="cs-CZ" sz="2800" dirty="0" smtClean="0"/>
              <a:t>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1391616522"/>
              </p:ext>
            </p:extLst>
          </p:nvPr>
        </p:nvGraphicFramePr>
        <p:xfrm>
          <a:off x="424071" y="1404320"/>
          <a:ext cx="10071652" cy="561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9220" name="Picture 4" descr="https://encrypted-tbn2.gstatic.com/images?q=tbn:ANd9GcSsGBxVPgWrveBD6zrSo1N83_omo9jT1wtGbjF3FRFbynDadkX9cK7irw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764" y="1191384"/>
            <a:ext cx="2337613" cy="1922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42122" y="6374296"/>
            <a:ext cx="5512904" cy="397566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2000" dirty="0" smtClean="0"/>
              <a:t>ČR v roce 2014 ??? </a:t>
            </a:r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13448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628422035"/>
              </p:ext>
            </p:extLst>
          </p:nvPr>
        </p:nvGraphicFramePr>
        <p:xfrm>
          <a:off x="-705615" y="1580127"/>
          <a:ext cx="8302671" cy="5645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eflační spirála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867" y="2957806"/>
            <a:ext cx="3096344" cy="2602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Picture 6" descr="https://encrypted-tbn1.gstatic.com/images?q=tbn:ANd9GcSyclw7_zG9CSOWkCm9kjQm1P8vQhdVD6JSzkTyrf2THanLqvpVwT-KIyCH">
            <a:hlinkClick r:id="rId8"/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85" y="220198"/>
            <a:ext cx="1422950" cy="174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2618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Česká ekonomika před intervencí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898462-610A-4302-B904-CB17D3765276}" type="datetime1">
              <a:rPr lang="cs-CZ" smtClean="0"/>
              <a:pPr>
                <a:defRPr/>
              </a:pPr>
              <a:t>14.11.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/ s</a:t>
            </a:r>
            <a:r>
              <a:rPr lang="cs-CZ" smtClean="0"/>
              <a:t>lid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898261-C03D-4E48-B7D2-6850D7F5614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301723337"/>
              </p:ext>
            </p:extLst>
          </p:nvPr>
        </p:nvGraphicFramePr>
        <p:xfrm>
          <a:off x="3474492" y="1476374"/>
          <a:ext cx="7128933" cy="55605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31244957"/>
              </p:ext>
            </p:extLst>
          </p:nvPr>
        </p:nvGraphicFramePr>
        <p:xfrm>
          <a:off x="234132" y="1548383"/>
          <a:ext cx="3312368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Freeform 7"/>
          <p:cNvSpPr/>
          <p:nvPr/>
        </p:nvSpPr>
        <p:spPr>
          <a:xfrm>
            <a:off x="3903275" y="2263995"/>
            <a:ext cx="739036" cy="604396"/>
          </a:xfrm>
          <a:custGeom>
            <a:avLst/>
            <a:gdLst>
              <a:gd name="connsiteX0" fmla="*/ 0 w 739036"/>
              <a:gd name="connsiteY0" fmla="*/ 439993 h 604396"/>
              <a:gd name="connsiteX1" fmla="*/ 150313 w 739036"/>
              <a:gd name="connsiteY1" fmla="*/ 1583 h 604396"/>
              <a:gd name="connsiteX2" fmla="*/ 438411 w 739036"/>
              <a:gd name="connsiteY2" fmla="*/ 577780 h 604396"/>
              <a:gd name="connsiteX3" fmla="*/ 739036 w 739036"/>
              <a:gd name="connsiteY3" fmla="*/ 515150 h 604396"/>
              <a:gd name="connsiteX4" fmla="*/ 739036 w 739036"/>
              <a:gd name="connsiteY4" fmla="*/ 515150 h 604396"/>
              <a:gd name="connsiteX5" fmla="*/ 726510 w 739036"/>
              <a:gd name="connsiteY5" fmla="*/ 502624 h 604396"/>
              <a:gd name="connsiteX6" fmla="*/ 726510 w 739036"/>
              <a:gd name="connsiteY6" fmla="*/ 502624 h 604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9036" h="604396">
                <a:moveTo>
                  <a:pt x="0" y="439993"/>
                </a:moveTo>
                <a:cubicBezTo>
                  <a:pt x="38622" y="209306"/>
                  <a:pt x="77245" y="-21381"/>
                  <a:pt x="150313" y="1583"/>
                </a:cubicBezTo>
                <a:cubicBezTo>
                  <a:pt x="223381" y="24547"/>
                  <a:pt x="340291" y="492186"/>
                  <a:pt x="438411" y="577780"/>
                </a:cubicBezTo>
                <a:cubicBezTo>
                  <a:pt x="536531" y="663374"/>
                  <a:pt x="739036" y="515150"/>
                  <a:pt x="739036" y="515150"/>
                </a:cubicBezTo>
                <a:lnTo>
                  <a:pt x="739036" y="515150"/>
                </a:lnTo>
                <a:lnTo>
                  <a:pt x="726510" y="502624"/>
                </a:lnTo>
                <a:lnTo>
                  <a:pt x="726510" y="502624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 10"/>
          <p:cNvSpPr/>
          <p:nvPr/>
        </p:nvSpPr>
        <p:spPr>
          <a:xfrm>
            <a:off x="4085002" y="4055164"/>
            <a:ext cx="1114618" cy="516835"/>
          </a:xfrm>
          <a:custGeom>
            <a:avLst/>
            <a:gdLst>
              <a:gd name="connsiteX0" fmla="*/ 0 w 1114618"/>
              <a:gd name="connsiteY0" fmla="*/ 147515 h 393144"/>
              <a:gd name="connsiteX1" fmla="*/ 363254 w 1114618"/>
              <a:gd name="connsiteY1" fmla="*/ 9729 h 393144"/>
              <a:gd name="connsiteX2" fmla="*/ 789139 w 1114618"/>
              <a:gd name="connsiteY2" fmla="*/ 385510 h 393144"/>
              <a:gd name="connsiteX3" fmla="*/ 1077238 w 1114618"/>
              <a:gd name="connsiteY3" fmla="*/ 260250 h 393144"/>
              <a:gd name="connsiteX4" fmla="*/ 1102290 w 1114618"/>
              <a:gd name="connsiteY4" fmla="*/ 235198 h 393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4618" h="393144">
                <a:moveTo>
                  <a:pt x="0" y="147515"/>
                </a:moveTo>
                <a:cubicBezTo>
                  <a:pt x="115865" y="58789"/>
                  <a:pt x="231731" y="-29937"/>
                  <a:pt x="363254" y="9729"/>
                </a:cubicBezTo>
                <a:cubicBezTo>
                  <a:pt x="494777" y="49395"/>
                  <a:pt x="670142" y="343757"/>
                  <a:pt x="789139" y="385510"/>
                </a:cubicBezTo>
                <a:cubicBezTo>
                  <a:pt x="908136" y="427263"/>
                  <a:pt x="1025046" y="285302"/>
                  <a:pt x="1077238" y="260250"/>
                </a:cubicBezTo>
                <a:cubicBezTo>
                  <a:pt x="1129430" y="235198"/>
                  <a:pt x="1115860" y="235198"/>
                  <a:pt x="1102290" y="235198"/>
                </a:cubicBezTo>
              </a:path>
            </a:pathLst>
          </a:cu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ightning Bolt 11"/>
          <p:cNvSpPr/>
          <p:nvPr/>
        </p:nvSpPr>
        <p:spPr>
          <a:xfrm>
            <a:off x="3945700" y="5658678"/>
            <a:ext cx="610480" cy="645275"/>
          </a:xfrm>
          <a:prstGeom prst="lightningBol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66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Úskalí intervenc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898462-610A-4302-B904-CB17D3765276}" type="datetime1">
              <a:rPr lang="cs-CZ" smtClean="0"/>
              <a:pPr>
                <a:defRPr/>
              </a:pPr>
              <a:t>14.11.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/ s</a:t>
            </a:r>
            <a:r>
              <a:rPr lang="cs-CZ" smtClean="0"/>
              <a:t>lid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3898261-C03D-4E48-B7D2-6850D7F5614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638568493"/>
              </p:ext>
            </p:extLst>
          </p:nvPr>
        </p:nvGraphicFramePr>
        <p:xfrm>
          <a:off x="-1012520" y="1594338"/>
          <a:ext cx="7303734" cy="48674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000672463"/>
              </p:ext>
            </p:extLst>
          </p:nvPr>
        </p:nvGraphicFramePr>
        <p:xfrm>
          <a:off x="3786555" y="1441938"/>
          <a:ext cx="7548674" cy="50918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81354" y="1207477"/>
            <a:ext cx="3692769" cy="46892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Domácí poptávka</a:t>
            </a:r>
            <a:endParaRPr lang="en-US" sz="1600" b="1" dirty="0" err="1" smtClean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18738" y="1207477"/>
            <a:ext cx="3774831" cy="468923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solidFill>
                  <a:schemeClr val="accent6">
                    <a:lumMod val="75000"/>
                  </a:schemeClr>
                </a:solidFill>
                <a:latin typeface="Century Gothic" pitchFamily="34" charset="0"/>
              </a:rPr>
              <a:t>Zahraniční poptávka</a:t>
            </a:r>
            <a:endParaRPr lang="en-US" sz="1600" b="1" dirty="0" err="1" smtClean="0">
              <a:solidFill>
                <a:schemeClr val="accent6">
                  <a:lumMod val="75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8440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ůst ekonomiky – co by bylo kdyby…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noProof="0" smtClean="0"/>
              <a:t>12/08/2014</a:t>
            </a:r>
            <a:endParaRPr lang="en-US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8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75137" y="7139232"/>
            <a:ext cx="4536831" cy="410308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Zdroj</a:t>
            </a:r>
            <a:r>
              <a:rPr lang="de-DE" sz="1400" dirty="0" smtClean="0">
                <a:latin typeface="Century Gothic" pitchFamily="34" charset="0"/>
              </a:rPr>
              <a:t>:</a:t>
            </a:r>
            <a:r>
              <a:rPr lang="cs-CZ" sz="1400" dirty="0" smtClean="0">
                <a:latin typeface="Century Gothic" pitchFamily="34" charset="0"/>
              </a:rPr>
              <a:t> </a:t>
            </a:r>
            <a:r>
              <a:rPr lang="cs-CZ" sz="1400" dirty="0" err="1" smtClean="0">
                <a:latin typeface="Century Gothic" pitchFamily="34" charset="0"/>
              </a:rPr>
              <a:t>ČS</a:t>
            </a:r>
            <a:r>
              <a:rPr lang="de-DE" sz="1400" dirty="0" smtClean="0">
                <a:latin typeface="Century Gothic" pitchFamily="34" charset="0"/>
              </a:rPr>
              <a:t>Ú, </a:t>
            </a:r>
            <a:r>
              <a:rPr lang="de-DE" sz="1400" dirty="0" err="1" smtClean="0">
                <a:latin typeface="Century Gothic" pitchFamily="34" charset="0"/>
              </a:rPr>
              <a:t>listopad</a:t>
            </a:r>
            <a:r>
              <a:rPr lang="de-DE" sz="1400" dirty="0" smtClean="0">
                <a:latin typeface="Century Gothic" pitchFamily="34" charset="0"/>
              </a:rPr>
              <a:t> 2014, </a:t>
            </a:r>
            <a:r>
              <a:rPr lang="de-DE" sz="1400" dirty="0" err="1" smtClean="0">
                <a:latin typeface="Century Gothic" pitchFamily="34" charset="0"/>
              </a:rPr>
              <a:t>odhad</a:t>
            </a:r>
            <a:r>
              <a:rPr lang="de-DE" sz="1400" dirty="0" smtClean="0">
                <a:latin typeface="Century Gothic" pitchFamily="34" charset="0"/>
              </a:rPr>
              <a:t> </a:t>
            </a:r>
            <a:r>
              <a:rPr lang="de-DE" sz="1400" dirty="0" err="1" smtClean="0">
                <a:latin typeface="Century Gothic" pitchFamily="34" charset="0"/>
              </a:rPr>
              <a:t>RB</a:t>
            </a:r>
            <a:r>
              <a:rPr lang="de-DE" sz="1400" dirty="0" smtClean="0">
                <a:latin typeface="Century Gothic" pitchFamily="34" charset="0"/>
              </a:rPr>
              <a:t> </a:t>
            </a:r>
            <a:r>
              <a:rPr lang="de-DE" sz="1400" dirty="0" err="1" smtClean="0">
                <a:latin typeface="Century Gothic" pitchFamily="34" charset="0"/>
              </a:rPr>
              <a:t>a.s.</a:t>
            </a:r>
            <a:endParaRPr lang="en-US" sz="1400" dirty="0" err="1" smtClean="0">
              <a:latin typeface="Century Gothic" pitchFamily="34" charset="0"/>
            </a:endParaRPr>
          </a:p>
        </p:txBody>
      </p:sp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1806935"/>
              </p:ext>
            </p:extLst>
          </p:nvPr>
        </p:nvGraphicFramePr>
        <p:xfrm>
          <a:off x="222738" y="1465385"/>
          <a:ext cx="10234247" cy="5064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pot</a:t>
            </a:r>
            <a:r>
              <a:rPr lang="cs-CZ" dirty="0" err="1" smtClean="0"/>
              <a:t>řebitelské</a:t>
            </a:r>
            <a:r>
              <a:rPr lang="cs-CZ" dirty="0" smtClean="0"/>
              <a:t> ceny – co by bylo kdyby…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9</a:t>
            </a:fld>
            <a:endParaRPr lang="en-US" noProof="0"/>
          </a:p>
        </p:txBody>
      </p:sp>
      <p:sp>
        <p:nvSpPr>
          <p:cNvPr id="5" name="TextBox 4"/>
          <p:cNvSpPr txBox="1"/>
          <p:nvPr/>
        </p:nvSpPr>
        <p:spPr>
          <a:xfrm>
            <a:off x="515814" y="6635262"/>
            <a:ext cx="4536831" cy="410308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dirty="0" smtClean="0">
                <a:latin typeface="Century Gothic" pitchFamily="34" charset="0"/>
              </a:rPr>
              <a:t>Zdroj</a:t>
            </a:r>
            <a:r>
              <a:rPr lang="de-DE" sz="1600" dirty="0" smtClean="0">
                <a:latin typeface="Century Gothic" pitchFamily="34" charset="0"/>
              </a:rPr>
              <a:t>:</a:t>
            </a:r>
            <a:r>
              <a:rPr lang="cs-CZ" sz="1600" dirty="0" smtClean="0">
                <a:latin typeface="Century Gothic" pitchFamily="34" charset="0"/>
              </a:rPr>
              <a:t> </a:t>
            </a:r>
            <a:r>
              <a:rPr lang="cs-CZ" sz="1600" dirty="0" err="1" smtClean="0">
                <a:latin typeface="Century Gothic" pitchFamily="34" charset="0"/>
              </a:rPr>
              <a:t>ČS</a:t>
            </a:r>
            <a:r>
              <a:rPr lang="de-DE" sz="1600" dirty="0" smtClean="0">
                <a:latin typeface="Century Gothic" pitchFamily="34" charset="0"/>
              </a:rPr>
              <a:t>Ú, </a:t>
            </a:r>
            <a:r>
              <a:rPr lang="de-DE" sz="1600" dirty="0" err="1" smtClean="0">
                <a:latin typeface="Century Gothic" pitchFamily="34" charset="0"/>
              </a:rPr>
              <a:t>listopad</a:t>
            </a:r>
            <a:r>
              <a:rPr lang="de-DE" sz="1600" dirty="0" smtClean="0">
                <a:latin typeface="Century Gothic" pitchFamily="34" charset="0"/>
              </a:rPr>
              <a:t> 2014, </a:t>
            </a:r>
            <a:r>
              <a:rPr lang="de-DE" sz="1600" dirty="0" err="1" smtClean="0">
                <a:latin typeface="Century Gothic" pitchFamily="34" charset="0"/>
              </a:rPr>
              <a:t>odhad</a:t>
            </a:r>
            <a:r>
              <a:rPr lang="de-DE" sz="1600" dirty="0" smtClean="0">
                <a:latin typeface="Century Gothic" pitchFamily="34" charset="0"/>
              </a:rPr>
              <a:t> </a:t>
            </a:r>
            <a:r>
              <a:rPr lang="de-DE" sz="1600" dirty="0" err="1" smtClean="0">
                <a:latin typeface="Century Gothic" pitchFamily="34" charset="0"/>
              </a:rPr>
              <a:t>RB</a:t>
            </a:r>
            <a:r>
              <a:rPr lang="de-DE" sz="1600" dirty="0" smtClean="0">
                <a:latin typeface="Century Gothic" pitchFamily="34" charset="0"/>
              </a:rPr>
              <a:t> </a:t>
            </a:r>
            <a:r>
              <a:rPr lang="de-DE" sz="1600" dirty="0" err="1" smtClean="0">
                <a:latin typeface="Century Gothic" pitchFamily="34" charset="0"/>
              </a:rPr>
              <a:t>a.s.</a:t>
            </a:r>
            <a:endParaRPr lang="en-US" sz="1600" dirty="0" err="1" smtClean="0">
              <a:latin typeface="Century Gothic" pitchFamily="34" charset="0"/>
            </a:endParaRPr>
          </a:p>
        </p:txBody>
      </p:sp>
      <p:graphicFrame>
        <p:nvGraphicFramePr>
          <p:cNvPr id="7" name="graf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6390267"/>
              </p:ext>
            </p:extLst>
          </p:nvPr>
        </p:nvGraphicFramePr>
        <p:xfrm>
          <a:off x="398585" y="1535723"/>
          <a:ext cx="9343292" cy="5099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5361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POINTVERSION" val="14.0"/>
  <p:tag name="TPVERSION" val="2008"/>
  <p:tag name="THINKCELLUNDODONOTDELETE" val="0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PPVERSION" val="14.0"/>
  <p:tag name="DELIMITERS" val="3.1"/>
  <p:tag name="SHOWBARVISIBLE" val="True"/>
  <p:tag name="EXPANDSHOWBAR" val="False"/>
  <p:tag name="USESECONDARYMONITOR" val="True"/>
  <p:tag name="SAVECSVWITHSESSION" val="False"/>
  <p:tag name="CSVFORMAT" val="0"/>
  <p:tag name="BULLETTYPE" val="3"/>
  <p:tag name="ANSWERNOWSTYLE" val="-1"/>
  <p:tag name="ANSWERNOWTEXT" val="Answer Now"/>
  <p:tag name="COUNTDOWNSTYLE" val="-1"/>
  <p:tag name="RESPCOUNTERSTYLE" val="-1"/>
  <p:tag name="RESPCOUNTERFORMAT" val="1"/>
  <p:tag name="RESPTABLESTYLE" val="-1"/>
  <p:tag name="COUNTDOWNSECONDS" val="10"/>
  <p:tag name="INPUTSOURCE" val="1"/>
  <p:tag name="NUMRESPONSES" val="1"/>
  <p:tag name="ALLOWDUPLICATES" val="False"/>
  <p:tag name="BACKUPSESSIONS" val="True"/>
  <p:tag name="BACKUPMAINTENANCE" val="7"/>
  <p:tag name="CHARTVALUEFORMAT" val="0"/>
  <p:tag name="AUTOADVANCE" val="False"/>
  <p:tag name="REVIEWONLY" val="False"/>
  <p:tag name="ROTATIONINTERVAL" val="2"/>
  <p:tag name="AUTOUPDATEALIASES" val="True"/>
  <p:tag name="STDCHART" val="1"/>
  <p:tag name="RACEENDPOINTS" val="100"/>
  <p:tag name="RACERSMAXDISPLAYED" val="5"/>
  <p:tag name="RACEANIMATIONSPEED" val="3"/>
  <p:tag name="SKIPREMAININGRACESLIDES" val="True"/>
  <p:tag name="PARTICIPANTSINLEADERBOARD" val="5"/>
  <p:tag name="TEAMSINLEADERBOARD" val="5"/>
  <p:tag name="MAXRESPONDERS" val="5"/>
  <p:tag name="BUBBLENAMEVISIBLE" val="True"/>
  <p:tag name="BUBBLESIZEVISIBLE" val="True"/>
  <p:tag name="BUBBLEVALUEFORMAT" val="0.0"/>
  <p:tag name="BUBBLEGROUPING" val="3"/>
  <p:tag name="DEFAULTNUMTEAMS" val="5"/>
  <p:tag name="CUSTOMGRIDBACKCOLOR" val="-2830136"/>
  <p:tag name="CUSTOMCELLFORECOLOR" val="-16777216"/>
  <p:tag name="CUSTOMCELLBACKCOLOR1" val="-657956"/>
  <p:tag name="CUSTOMCELLBACKCOLOR2" val="-13395457"/>
  <p:tag name="CUSTOMCELLBACKCOLOR3" val="-268652"/>
  <p:tag name="CUSTOMCELLBACKCOLOR4" val="-8355712"/>
  <p:tag name="USESCHEMECOLORS" val="True"/>
  <p:tag name="DISPLAYNAME" val="True"/>
  <p:tag name="DISPLAYDEVICENUMBER" val="True"/>
  <p:tag name="DISPLAYDEVICEID" val="True"/>
  <p:tag name="GRIDOPACITY" val="90"/>
  <p:tag name="GRIDROTATIONINTERVAL" val="2"/>
  <p:tag name="AUTOSIZEGRID" val="True"/>
  <p:tag name="GRIDSIZE" val="{Width=800, Height=600}"/>
  <p:tag name="GRIDPOSITION" val="1"/>
  <p:tag name="GRIDFONTSIZE" val="12"/>
  <p:tag name="POLLINGCYCLE" val="2"/>
  <p:tag name="CHARTCOLORS" val="1"/>
  <p:tag name="CHARTLABELS" val="0"/>
  <p:tag name="RESETCHARTS" val="True"/>
  <p:tag name="INCLUDENONRESPONDERS" val="False"/>
  <p:tag name="MULTIRESPDIVISOR" val="1"/>
  <p:tag name="INCLUDEPPT" val="True"/>
  <p:tag name="ALLOWUSERFEEDBACK" val="True"/>
  <p:tag name="CORRECTPOINTVALUE" val="100"/>
  <p:tag name="INCORRECTPOINTVALUE" val="0"/>
  <p:tag name="REALTIMEBACKUP" val="False"/>
  <p:tag name="REALTIMEBACKUPPATH" val="(None)"/>
  <p:tag name="ZEROBASED" val="False"/>
  <p:tag name="AUTOADJUSTPARTRANGE" val="True"/>
  <p:tag name="CHARTSCALE" val="True"/>
  <p:tag name="ADVANCEDSETTINGSVIEW" val="True"/>
  <p:tag name="FIBDISPLAYRESULTS" val="True"/>
  <p:tag name="FIBNUMRESULTS" val="5"/>
  <p:tag name="FIBINCLUDEOTHER" val="True"/>
  <p:tag name="FIBDISPLAYKEYWORDS" val="True"/>
  <p:tag name="PRRESPONSE1" val="10"/>
  <p:tag name="PRRESPONSE2" val="9"/>
  <p:tag name="PRRESPONSE3" val="8"/>
  <p:tag name="PRRESPONSE4" val="7"/>
  <p:tag name="PRRESPONSE5" val="6"/>
  <p:tag name="PRRESPONSE6" val="5"/>
  <p:tag name="PRRESPONSE7" val="4"/>
  <p:tag name="PRRESPONSE8" val="3"/>
  <p:tag name="PRRESPONSE9" val="2"/>
  <p:tag name="PRRESPONSE10" val="1"/>
  <p:tag name="SHOWFLASHWARNING" val="True"/>
  <p:tag name="ALWAYSOPENPOLL" val="False"/>
  <p:tag name="TASKPANEKEY" val="650b9583-78e8-4915-a31f-d066ab23b4b8"/>
  <p:tag name="TPFULLVERSION" val="4.5.1.2243"/>
  <p:tag name="ISNEWSLIDENUMBER" val="False"/>
  <p:tag name="PREVIOUSNAME" val="C:\Users\Petr Jonas\AppData\Local\McK FirmFormat Templates\Templates\Local Templates\Presentation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Deflace_prednaska_Liberec_Nov14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.potx" id="{1544FEB1-27F0-400E-9D74-BB2A51958F67}" vid="{A1269499-6F65-49F9-92F5-BE5D13162290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8a242853-43d6-460e-83d1-ae32e22d03ab"/>
    <ds:schemaRef ds:uri="http://schemas.microsoft.com/sharepoint/v3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lace_prednaska_Liberec_Nov14</Template>
  <TotalTime>217</TotalTime>
  <Words>627</Words>
  <Application>Microsoft Office PowerPoint</Application>
  <PresentationFormat>Vlastní</PresentationFormat>
  <Paragraphs>186</Paragraphs>
  <Slides>19</Slides>
  <Notes>11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9</vt:i4>
      </vt:variant>
    </vt:vector>
  </HeadingPairs>
  <TitlesOfParts>
    <vt:vector size="21" baseType="lpstr">
      <vt:lpstr>Deflace_prednaska_Liberec_Nov14</vt:lpstr>
      <vt:lpstr>think-cell Slide</vt:lpstr>
      <vt:lpstr>Prezentace aplikace PowerPoint</vt:lpstr>
      <vt:lpstr>Scénář</vt:lpstr>
      <vt:lpstr>Deflace – co to je???</vt:lpstr>
      <vt:lpstr>Strašák deflace – pouze učebnicový příklad?</vt:lpstr>
      <vt:lpstr>Deflační spirála</vt:lpstr>
      <vt:lpstr>Česká ekonomika před intervencí</vt:lpstr>
      <vt:lpstr>Úskalí intervence</vt:lpstr>
      <vt:lpstr>Růst ekonomiky – co by bylo kdyby…</vt:lpstr>
      <vt:lpstr>Spotřebitelské ceny – co by bylo kdyby…</vt:lpstr>
      <vt:lpstr>Obchází Evropu strašák deflace?</vt:lpstr>
      <vt:lpstr>Sazby na dně. Dobrá nebo špatná zpráva?</vt:lpstr>
      <vt:lpstr>Můj dům, můj hrad, má zkáza?</vt:lpstr>
      <vt:lpstr>Míry 10-10-20 nebo 20-10-30?</vt:lpstr>
      <vt:lpstr>Peněz hodně, úvěrů málo</vt:lpstr>
      <vt:lpstr>Silný bankovní sektor – nutná podmínka</vt:lpstr>
      <vt:lpstr>Stárnoucí populace – výzva  a hrozba století</vt:lpstr>
      <vt:lpstr>… a s dluhem na věčné časy</vt:lpstr>
      <vt:lpstr>Hloupý vtip???</vt:lpstr>
      <vt:lpstr>Důležité upozornění</vt:lpstr>
    </vt:vector>
  </TitlesOfParts>
  <Company>Raiffeisenbank a.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Šárka a Sand</cp:lastModifiedBy>
  <cp:revision>32</cp:revision>
  <cp:lastPrinted>2014-10-29T14:14:20Z</cp:lastPrinted>
  <dcterms:created xsi:type="dcterms:W3CDTF">2014-11-12T08:33:02Z</dcterms:created>
  <dcterms:modified xsi:type="dcterms:W3CDTF">2014-11-14T10:55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